
<file path=[Content_Types].xml><?xml version="1.0" encoding="utf-8"?>
<Types xmlns="http://schemas.openxmlformats.org/package/2006/content-types"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tags/tag35.xml" ContentType="application/vnd.openxmlformats-officedocument.presentationml.tags+xml"/>
  <Override PartName="/ppt/tags/tag30.xml" ContentType="application/vnd.openxmlformats-officedocument.presentationml.tags+xml"/>
  <Override PartName="/ppt/tags/tag34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slideLayouts/slideLayout13.xml" ContentType="application/vnd.openxmlformats-officedocument.presentationml.slideLayout+xml"/>
  <Override PartName="/ppt/tags/tag59.xml" ContentType="application/vnd.openxmlformats-officedocument.presentationml.tags+xml"/>
  <Override PartName="/ppt/slideLayouts/slideLayout18.xml" ContentType="application/vnd.openxmlformats-officedocument.presentationml.slideLayout+xml"/>
  <Override PartName="/ppt/tags/tag69.xml" ContentType="application/vnd.openxmlformats-officedocument.presentationml.tags+xml"/>
  <Override PartName="/ppt/tags/tag68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slideLayouts/slideLayout21.xml" ContentType="application/vnd.openxmlformats-officedocument.presentationml.slideLayout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slideLayouts/slideLayout7.xml" ContentType="application/vnd.openxmlformats-officedocument.presentationml.slideLayout+xml"/>
  <Override PartName="/ppt/tags/tag27.xml" ContentType="application/vnd.openxmlformats-officedocument.presentationml.tags+xml"/>
  <Override PartName="/ppt/tags/tag22.xml" ContentType="application/vnd.openxmlformats-officedocument.presentationml.tags+xml"/>
  <Override PartName="/ppt/tags/tag26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slideLayouts/slideLayout12.xml" ContentType="application/vnd.openxmlformats-officedocument.presentationml.slideLayout+xml"/>
  <Override PartName="/ppt/tags/tag55.xml" ContentType="application/vnd.openxmlformats-officedocument.presentationml.tags+xml"/>
  <Override PartName="/ppt/tags/tag50.xml" ContentType="application/vnd.openxmlformats-officedocument.presentationml.tags+xml"/>
  <Override PartName="/ppt/tags/tag54.xml" ContentType="application/vnd.openxmlformats-officedocument.presentationml.tags+xml"/>
  <Override PartName="/ppt/tags/tag49.xml" ContentType="application/vnd.openxmlformats-officedocument.presentationml.tags+xml"/>
  <Override PartName="/ppt/tags/tag53.xml" ContentType="application/vnd.openxmlformats-officedocument.presentationml.tags+xml"/>
  <Override PartName="/ppt/tags/tag58.xml" ContentType="application/vnd.openxmlformats-officedocument.presentationml.tags+xml"/>
  <Override PartName="/ppt/tags/tag52.xml" ContentType="application/vnd.openxmlformats-officedocument.presentationml.tags+xml"/>
  <Override PartName="/ppt/tags/tag57.xml" ContentType="application/vnd.openxmlformats-officedocument.presentationml.tags+xml"/>
  <Override PartName="/ppt/tags/tag51.xml" ContentType="application/vnd.openxmlformats-officedocument.presentationml.tags+xml"/>
  <Override PartName="/ppt/tags/tag56.xml" ContentType="application/vnd.openxmlformats-officedocument.presentationml.tags+xml"/>
  <Override PartName="/ppt/slideLayouts/slideLayout17.xml" ContentType="application/vnd.openxmlformats-officedocument.presentationml.slideLayout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slideLayouts/slideLayout20.xml" ContentType="application/vnd.openxmlformats-officedocument.presentationml.slideLayout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heme/theme1.xml" ContentType="application/vnd.openxmlformats-officedocument.theme+xml"/>
  <Override PartName="/ppt/slideLayouts/slideLayout6.xml" ContentType="application/vnd.openxmlformats-officedocument.presentationml.slideLayout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slideLayouts/slideLayout11.xml" ContentType="application/vnd.openxmlformats-officedocument.presentationml.slideLayout+xml"/>
  <Override PartName="/ppt/tags/tag4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slideLayouts/slideLayout15.xml" ContentType="application/vnd.openxmlformats-officedocument.presentationml.slideLayout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slideLayouts/slideLayout4.xml" ContentType="application/vnd.openxmlformats-officedocument.presentationml.slideLayout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tags/tag43.xml" ContentType="application/vnd.openxmlformats-officedocument.presentationml.tags+xml"/>
  <Override PartName="/ppt/tags/tag38.xml" ContentType="application/vnd.openxmlformats-officedocument.presentationml.tags+xml"/>
  <Override PartName="/ppt/tags/tag42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45.xml" ContentType="application/vnd.openxmlformats-officedocument.presentationml.tags+xml"/>
  <Override PartName="/ppt/tags/tag39.xml" ContentType="application/vnd.openxmlformats-officedocument.presentationml.tags+xml"/>
  <Override PartName="/ppt/tags/tag44.xml" ContentType="application/vnd.openxmlformats-officedocument.presentationml.tags+xml"/>
  <Override PartName="/ppt/slideLayouts/slideLayout14.xml" ContentType="application/vnd.openxmlformats-officedocument.presentationml.slideLayout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s/slide2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3.xml" ContentType="application/vnd.openxmlformats-officedocument.presentationml.slide+xml"/>
  <Override PartName="/ppt/notesSlides/notesSlide3.xml" ContentType="application/vnd.openxmlformats-officedocument.presentationml.notesSlide+xml"/>
  <Override PartName="/ppt/slides/slide4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5.xml" ContentType="application/vnd.openxmlformats-officedocument.presentationml.slide+xml"/>
  <Override PartName="/ppt/notesSlides/notesSlide5.xml" ContentType="application/vnd.openxmlformats-officedocument.presentationml.notesSlide+xml"/>
  <Override PartName="/ppt/slides/slide6.xml" ContentType="application/vnd.openxmlformats-officedocument.presentationml.slide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notesSlides/notesSlide7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8.xml" ContentType="application/vnd.openxmlformats-officedocument.presentationml.notesSlide+xml"/>
  <Override PartName="/ppt/slides/slide9.xml" ContentType="application/vnd.openxmlformats-officedocument.presentationml.slide+xml"/>
  <Override PartName="/ppt/notesSlides/notesSlide9.xml" ContentType="application/vnd.openxmlformats-officedocument.presentationml.notesSlide+xml"/>
  <Override PartName="/ppt/slides/slide10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11.xml" ContentType="application/vnd.openxmlformats-officedocument.presentationml.slide+xml"/>
  <Override PartName="/ppt/notesSlides/notesSlide11.xml" ContentType="application/vnd.openxmlformats-officedocument.presentationml.notesSlide+xml"/>
  <Override PartName="/ppt/slides/slide12.xml" ContentType="application/vnd.openxmlformats-officedocument.presentationml.slide+xml"/>
  <Override PartName="/ppt/notesSlides/notesSlide12.xml" ContentType="application/vnd.openxmlformats-officedocument.presentationml.notesSlide+xml"/>
  <Override PartName="/ppt/slides/slide13.xml" ContentType="application/vnd.openxmlformats-officedocument.presentationml.slide+xml"/>
  <Override PartName="/ppt/notesSlides/notesSlide13.xml" ContentType="application/vnd.openxmlformats-officedocument.presentationml.notesSlide+xml"/>
  <Override PartName="/ppt/slides/slide14.xml" ContentType="application/vnd.openxmlformats-officedocument.presentationml.slide+xml"/>
  <Override PartName="/ppt/notesSlides/notesSlide14.xml" ContentType="application/vnd.openxmlformats-officedocument.presentationml.notesSlide+xml"/>
  <Override PartName="/ppt/slides/slide15.xml" ContentType="application/vnd.openxmlformats-officedocument.presentationml.slide+xml"/>
  <Override PartName="/ppt/notesSlides/notesSlide15.xml" ContentType="application/vnd.openxmlformats-officedocument.presentationml.notesSlide+xml"/>
  <Override PartName="/ppt/slides/slide16.xml" ContentType="application/vnd.openxmlformats-officedocument.presentationml.slide+xml"/>
  <Override PartName="/ppt/notesSlides/notesSlide16.xml" ContentType="application/vnd.openxmlformats-officedocument.presentationml.notesSlide+xml"/>
  <Override PartName="/ppt/slides/slide17.xml" ContentType="application/vnd.openxmlformats-officedocument.presentationml.slide+xml"/>
  <Override PartName="/ppt/notesSlides/notesSlide17.xml" ContentType="application/vnd.openxmlformats-officedocument.presentationml.notesSlide+xml"/>
  <Override PartName="/ppt/slides/slide18.xml" ContentType="application/vnd.openxmlformats-officedocument.presentationml.slide+xml"/>
  <Override PartName="/ppt/notesSlides/notesSlide18.xml" ContentType="application/vnd.openxmlformats-officedocument.presentationml.notesSlide+xml"/>
  <Override PartName="/ppt/slides/slide19.xml" ContentType="application/vnd.openxmlformats-officedocument.presentationml.slide+xml"/>
  <Override PartName="/ppt/notesSlides/notesSlide19.xml" ContentType="application/vnd.openxmlformats-officedocument.presentationml.notesSlide+xml"/>
  <Override PartName="/ppt/slides/slide20.xml" ContentType="application/vnd.openxmlformats-officedocument.presentationml.slide+xml"/>
  <Override PartName="/ppt/notesSlides/notesSlide20.xml" ContentType="application/vnd.openxmlformats-officedocument.presentationml.notesSlide+xml"/>
  <Override PartName="/ppt/slides/slide21.xml" ContentType="application/vnd.openxmlformats-officedocument.presentationml.slide+xml"/>
  <Override PartName="/ppt/notesSlides/notesSlide21.xml" ContentType="application/vnd.openxmlformats-officedocument.presentationml.notesSlide+xml"/>
  <Override PartName="/ppt/slides/slide22.xml" ContentType="application/vnd.openxmlformats-officedocument.presentationml.slide+xml"/>
  <Override PartName="/ppt/notesSlides/notesSlide22.xml" ContentType="application/vnd.openxmlformats-officedocument.presentationml.notesSlide+xml"/>
  <Override PartName="/ppt/slides/slide23.xml" ContentType="application/vnd.openxmlformats-officedocument.presentationml.slide+xml"/>
  <Override PartName="/ppt/notesSlides/notesSlide23.xml" ContentType="application/vnd.openxmlformats-officedocument.presentationml.notesSlide+xml"/>
  <Override PartName="/ppt/slides/slide24.xml" ContentType="application/vnd.openxmlformats-officedocument.presentationml.slide+xml"/>
  <Override PartName="/ppt/notesSlides/notesSlide24.xml" ContentType="application/vnd.openxmlformats-officedocument.presentationml.notesSlide+xml"/>
  <Override PartName="/ppt/slides/slide25.xml" ContentType="application/vnd.openxmlformats-officedocument.presentationml.slide+xml"/>
  <Override PartName="/ppt/notesSlides/notesSlide25.xml" ContentType="application/vnd.openxmlformats-officedocument.presentationml.notesSlide+xml"/>
  <Override PartName="/ppt/slides/slide26.xml" ContentType="application/vnd.openxmlformats-officedocument.presentationml.slide+xml"/>
  <Override PartName="/ppt/notesSlides/notesSlide26.xml" ContentType="application/vnd.openxmlformats-officedocument.presentationml.notesSlide+xml"/>
  <Override PartName="/ppt/slides/slide27.xml" ContentType="application/vnd.openxmlformats-officedocument.presentationml.slide+xml"/>
  <Override PartName="/ppt/notesSlides/notesSlide27.xml" ContentType="application/vnd.openxmlformats-officedocument.presentationml.notesSlide+xml"/>
  <Override PartName="/ppt/slides/slide28.xml" ContentType="application/vnd.openxmlformats-officedocument.presentationml.slide+xml"/>
  <Override PartName="/ppt/notesSlides/notesSlide28.xml" ContentType="application/vnd.openxmlformats-officedocument.presentationml.notesSlide+xml"/>
  <Override PartName="/ppt/slides/slide29.xml" ContentType="application/vnd.openxmlformats-officedocument.presentationml.slide+xml"/>
  <Override PartName="/ppt/notesSlides/notesSlide29.xml" ContentType="application/vnd.openxmlformats-officedocument.presentationml.notesSlide+xml"/>
  <Override PartName="/ppt/slides/slide30.xml" ContentType="application/vnd.openxmlformats-officedocument.presentationml.slide+xml"/>
  <Override PartName="/ppt/notesSlides/notesSlide30.xml" ContentType="application/vnd.openxmlformats-officedocument.presentationml.notesSlide+xml"/>
  <Override PartName="/ppt/slides/slide31.xml" ContentType="application/vnd.openxmlformats-officedocument.presentationml.slide+xml"/>
  <Override PartName="/ppt/notesSlides/notesSlide31.xml" ContentType="application/vnd.openxmlformats-officedocument.presentationml.notesSlide+xml"/>
  <Override PartName="/ppt/slides/slide32.xml" ContentType="application/vnd.openxmlformats-officedocument.presentationml.slide+xml"/>
  <Override PartName="/ppt/notesSlides/notesSlide32.xml" ContentType="application/vnd.openxmlformats-officedocument.presentationml.notesSlid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app.xml" ContentType="application/vnd.openxmlformats-officedocument.extended-properties+xml"/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</Types>
</file>

<file path=_rels/.rels>&#65279;<?xml version="1.0" encoding="UTF-8" standalone="yes"?>
<Relationships xmlns="http://schemas.openxmlformats.org/package/2006/relationships">
  <Relationship Id="rId3" Type="http://schemas.openxmlformats.org/package/2006/relationships/metadata/core-properties" Target="docProps/core.xml" />
  <Relationship Id="rId2" Type="http://schemas.openxmlformats.org/package/2006/relationships/metadata/thumbnail" Target="docProps/thumbnail.jpeg" />
  <Relationship Id="rId1" Type="http://schemas.openxmlformats.org/officeDocument/2006/relationships/officeDocument" Target="ppt/presentation.xml" />
  <Relationship Id="rId4" Type="http://schemas.openxmlformats.org/officeDocument/2006/relationships/extended-properties" Target="docProps/app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34"/>
  </p:notesMasterIdLst>
  <p:sldIdLst>
    <p:sldId id="256" r:id="rId2"/>
    <p:sldId id="427" r:id="rId3"/>
    <p:sldId id="428" r:id="rId4"/>
    <p:sldId id="429" r:id="rId5"/>
    <p:sldId id="430" r:id="rId6"/>
    <p:sldId id="431" r:id="rId7"/>
    <p:sldId id="432" r:id="rId8"/>
    <p:sldId id="433" r:id="rId9"/>
    <p:sldId id="434" r:id="rId10"/>
    <p:sldId id="435" r:id="rId11"/>
    <p:sldId id="386" r:id="rId12"/>
    <p:sldId id="425" r:id="rId13"/>
    <p:sldId id="436" r:id="rId14"/>
    <p:sldId id="437" r:id="rId15"/>
    <p:sldId id="438" r:id="rId16"/>
    <p:sldId id="439" r:id="rId17"/>
    <p:sldId id="444" r:id="rId18"/>
    <p:sldId id="445" r:id="rId19"/>
    <p:sldId id="369" r:id="rId20"/>
    <p:sldId id="382" r:id="rId21"/>
    <p:sldId id="446" r:id="rId22"/>
    <p:sldId id="448" r:id="rId23"/>
    <p:sldId id="449" r:id="rId24"/>
    <p:sldId id="461" r:id="rId25"/>
    <p:sldId id="462" r:id="rId26"/>
    <p:sldId id="452" r:id="rId27"/>
    <p:sldId id="454" r:id="rId28"/>
    <p:sldId id="455" r:id="rId29"/>
    <p:sldId id="456" r:id="rId30"/>
    <p:sldId id="457" r:id="rId31"/>
    <p:sldId id="458" r:id="rId32"/>
    <p:sldId id="460" r:id="rId33"/>
  </p:sldIdLst>
  <p:sldSz cx="9144000" cy="6858000" type="screen4x3"/>
  <p:notesSz cx="6797675" cy="9872663"/>
  <p:custDataLst>
    <p:tags r:id="rId3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40">
          <p15:clr>
            <a:srgbClr val="A4A3A4"/>
          </p15:clr>
        </p15:guide>
        <p15:guide id="2" orient="horz" pos="3781">
          <p15:clr>
            <a:srgbClr val="A4A3A4"/>
          </p15:clr>
        </p15:guide>
        <p15:guide id="3" pos="2880">
          <p15:clr>
            <a:srgbClr val="A4A3A4"/>
          </p15:clr>
        </p15:guide>
        <p15:guide id="4" pos="238">
          <p15:clr>
            <a:srgbClr val="A4A3A4"/>
          </p15:clr>
        </p15:guide>
        <p15:guide id="5" pos="552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8A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91" autoAdjust="0"/>
    <p:restoredTop sz="94628" autoAdjust="0"/>
  </p:normalViewPr>
  <p:slideViewPr>
    <p:cSldViewPr snapToGrid="0" showGuides="1">
      <p:cViewPr>
        <p:scale>
          <a:sx n="115" d="100"/>
          <a:sy n="115" d="100"/>
        </p:scale>
        <p:origin x="-1734" y="0"/>
      </p:cViewPr>
      <p:guideLst>
        <p:guide orient="horz" pos="740"/>
        <p:guide orient="horz" pos="3781"/>
        <p:guide pos="2880"/>
        <p:guide pos="238"/>
        <p:guide pos="552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&#65279;<?xml version="1.0" encoding="UTF-8" standalone="yes"?>
<Relationships xmlns="http://schemas.openxmlformats.org/package/2006/relationships">
  <Relationship Id="rId2" Type="http://schemas.openxmlformats.org/officeDocument/2006/relationships/slide" Target="slides/slide1.xml" />
  <Relationship Id="rId3" Type="http://schemas.openxmlformats.org/officeDocument/2006/relationships/slide" Target="slides/slide2.xml" />
  <Relationship Id="rId4" Type="http://schemas.openxmlformats.org/officeDocument/2006/relationships/slide" Target="slides/slide3.xml" />
  <Relationship Id="rId5" Type="http://schemas.openxmlformats.org/officeDocument/2006/relationships/slide" Target="slides/slide4.xml" />
  <Relationship Id="rId6" Type="http://schemas.openxmlformats.org/officeDocument/2006/relationships/slide" Target="slides/slide5.xml" />
  <Relationship Id="rId7" Type="http://schemas.openxmlformats.org/officeDocument/2006/relationships/slide" Target="slides/slide6.xml" />
  <Relationship Id="rId8" Type="http://schemas.openxmlformats.org/officeDocument/2006/relationships/slide" Target="slides/slide7.xml" />
  <Relationship Id="rId9" Type="http://schemas.openxmlformats.org/officeDocument/2006/relationships/slide" Target="slides/slide8.xml" />
  <Relationship Id="rId10" Type="http://schemas.openxmlformats.org/officeDocument/2006/relationships/slide" Target="slides/slide9.xml" />
  <Relationship Id="rId11" Type="http://schemas.openxmlformats.org/officeDocument/2006/relationships/slide" Target="slides/slide10.xml" />
  <Relationship Id="rId12" Type="http://schemas.openxmlformats.org/officeDocument/2006/relationships/slide" Target="slides/slide11.xml" />
  <Relationship Id="rId13" Type="http://schemas.openxmlformats.org/officeDocument/2006/relationships/slide" Target="slides/slide12.xml" />
  <Relationship Id="rId14" Type="http://schemas.openxmlformats.org/officeDocument/2006/relationships/slide" Target="slides/slide13.xml" />
  <Relationship Id="rId15" Type="http://schemas.openxmlformats.org/officeDocument/2006/relationships/slide" Target="slides/slide14.xml" />
  <Relationship Id="rId16" Type="http://schemas.openxmlformats.org/officeDocument/2006/relationships/slide" Target="slides/slide15.xml" />
  <Relationship Id="rId17" Type="http://schemas.openxmlformats.org/officeDocument/2006/relationships/slide" Target="slides/slide16.xml" />
  <Relationship Id="rId18" Type="http://schemas.openxmlformats.org/officeDocument/2006/relationships/slide" Target="slides/slide17.xml" />
  <Relationship Id="rId19" Type="http://schemas.openxmlformats.org/officeDocument/2006/relationships/slide" Target="slides/slide18.xml" />
  <Relationship Id="rId20" Type="http://schemas.openxmlformats.org/officeDocument/2006/relationships/slide" Target="slides/slide19.xml" />
  <Relationship Id="rId21" Type="http://schemas.openxmlformats.org/officeDocument/2006/relationships/slide" Target="slides/slide20.xml" />
  <Relationship Id="rId22" Type="http://schemas.openxmlformats.org/officeDocument/2006/relationships/slide" Target="slides/slide21.xml" />
  <Relationship Id="rId23" Type="http://schemas.openxmlformats.org/officeDocument/2006/relationships/slide" Target="slides/slide22.xml" />
  <Relationship Id="rId24" Type="http://schemas.openxmlformats.org/officeDocument/2006/relationships/slide" Target="slides/slide23.xml" />
  <Relationship Id="rId25" Type="http://schemas.openxmlformats.org/officeDocument/2006/relationships/slide" Target="slides/slide24.xml" />
  <Relationship Id="rId26" Type="http://schemas.openxmlformats.org/officeDocument/2006/relationships/slide" Target="slides/slide25.xml" />
  <Relationship Id="rId27" Type="http://schemas.openxmlformats.org/officeDocument/2006/relationships/slide" Target="slides/slide26.xml" />
  <Relationship Id="rId28" Type="http://schemas.openxmlformats.org/officeDocument/2006/relationships/slide" Target="slides/slide27.xml" />
  <Relationship Id="rId29" Type="http://schemas.openxmlformats.org/officeDocument/2006/relationships/slide" Target="slides/slide28.xml" />
  <Relationship Id="rId30" Type="http://schemas.openxmlformats.org/officeDocument/2006/relationships/slide" Target="slides/slide29.xml" />
  <Relationship Id="rId31" Type="http://schemas.openxmlformats.org/officeDocument/2006/relationships/slide" Target="slides/slide30.xml" />
  <Relationship Id="rId32" Type="http://schemas.openxmlformats.org/officeDocument/2006/relationships/slide" Target="slides/slide31.xml" />
  <Relationship Id="rId33" Type="http://schemas.openxmlformats.org/officeDocument/2006/relationships/slide" Target="slides/slide32.xml" />
  <Relationship Id="rId39" Type="http://schemas.openxmlformats.org/officeDocument/2006/relationships/tableStyles" Target="tableStyles.xml" />
  <Relationship Id="rId34" Type="http://schemas.openxmlformats.org/officeDocument/2006/relationships/notesMaster" Target="notesMasters/notesMaster1.xml" />
  <Relationship Id="rId38" Type="http://schemas.openxmlformats.org/officeDocument/2006/relationships/theme" Target="theme/theme1.xml" />
  <Relationship Id="rId1" Type="http://schemas.openxmlformats.org/officeDocument/2006/relationships/slideMaster" Target="slideMasters/slideMaster1.xml" />
  <Relationship Id="rId37" Type="http://schemas.openxmlformats.org/officeDocument/2006/relationships/viewProps" Target="viewProps.xml" />
  <Relationship Id="rId36" Type="http://schemas.openxmlformats.org/officeDocument/2006/relationships/presProps" Target="presProps.xml" />
  <Relationship Id="rId35" Type="http://schemas.openxmlformats.org/officeDocument/2006/relationships/tags" Target="tags/tag1.xml" />
</Relationships>
</file>

<file path=ppt/drawings/_rels/vmlDrawing1.vml.rels>&#65279;<?xml version="1.0" encoding="UTF-8" standalone="yes"?>
<Relationships xmlns="http://schemas.openxmlformats.org/package/2006/relationships">
  <Relationship Id="rId2" Type="http://schemas.openxmlformats.org/officeDocument/2006/relationships/image" Target="../media/image7.emf" />
  <Relationship Id="rId1" Type="http://schemas.openxmlformats.org/officeDocument/2006/relationships/image" Target="../media/image6.emf" />
</Relationships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2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446CC7-2566-413F-BDD4-16E86FDD751E}" type="datetimeFigureOut">
              <a:rPr lang="en-GB" smtClean="0"/>
              <a:pPr/>
              <a:t>24/05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E1B668-92ED-41D0-A653-2B470587DDA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1687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.xml" />
  <Relationship Id="rId1" Type="http://schemas.openxmlformats.org/officeDocument/2006/relationships/notesMaster" Target="../notesMasters/notesMaster1.xml" />
</Relationships>
</file>

<file path=ppt/notesSlides/_rels/notesSlide1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0.xml" />
  <Relationship Id="rId1" Type="http://schemas.openxmlformats.org/officeDocument/2006/relationships/notesMaster" Target="../notesMasters/notesMaster1.xml" />
</Relationships>
</file>

<file path=ppt/notesSlides/_rels/notesSlide1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1.xml" />
  <Relationship Id="rId1" Type="http://schemas.openxmlformats.org/officeDocument/2006/relationships/notesMaster" Target="../notesMasters/notesMaster1.xml" />
</Relationships>
</file>

<file path=ppt/notesSlides/_rels/notesSlide1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2.xml" />
  <Relationship Id="rId1" Type="http://schemas.openxmlformats.org/officeDocument/2006/relationships/notesMaster" Target="../notesMasters/notesMaster1.xml" />
</Relationships>
</file>

<file path=ppt/notesSlides/_rels/notesSlide1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3.xml" />
  <Relationship Id="rId1" Type="http://schemas.openxmlformats.org/officeDocument/2006/relationships/notesMaster" Target="../notesMasters/notesMaster1.xml" />
</Relationships>
</file>

<file path=ppt/notesSlides/_rels/notesSlide1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4.xml" />
  <Relationship Id="rId1" Type="http://schemas.openxmlformats.org/officeDocument/2006/relationships/notesMaster" Target="../notesMasters/notesMaster1.xml" />
</Relationships>
</file>

<file path=ppt/notesSlides/_rels/notesSlide1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5.xml" />
  <Relationship Id="rId1" Type="http://schemas.openxmlformats.org/officeDocument/2006/relationships/notesMaster" Target="../notesMasters/notesMaster1.xml" />
</Relationships>
</file>

<file path=ppt/notesSlides/_rels/notesSlide1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6.xml" />
  <Relationship Id="rId1" Type="http://schemas.openxmlformats.org/officeDocument/2006/relationships/notesMaster" Target="../notesMasters/notesMaster1.xml" />
</Relationships>
</file>

<file path=ppt/notesSlides/_rels/notesSlide1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7.xml" />
  <Relationship Id="rId1" Type="http://schemas.openxmlformats.org/officeDocument/2006/relationships/notesMaster" Target="../notesMasters/notesMaster1.xml" />
</Relationships>
</file>

<file path=ppt/notesSlides/_rels/notesSlide1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8.xml" />
  <Relationship Id="rId1" Type="http://schemas.openxmlformats.org/officeDocument/2006/relationships/notesMaster" Target="../notesMasters/notesMaster1.xml" />
</Relationships>
</file>

<file path=ppt/notesSlides/_rels/notesSlide1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9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2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0.xml" />
  <Relationship Id="rId1" Type="http://schemas.openxmlformats.org/officeDocument/2006/relationships/notesMaster" Target="../notesMasters/notesMaster1.xml" />
</Relationships>
</file>

<file path=ppt/notesSlides/_rels/notesSlide2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1.xml" />
  <Relationship Id="rId1" Type="http://schemas.openxmlformats.org/officeDocument/2006/relationships/notesMaster" Target="../notesMasters/notesMaster1.xml" />
</Relationships>
</file>

<file path=ppt/notesSlides/_rels/notesSlide2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2.xml" />
  <Relationship Id="rId1" Type="http://schemas.openxmlformats.org/officeDocument/2006/relationships/notesMaster" Target="../notesMasters/notesMaster1.xml" />
</Relationships>
</file>

<file path=ppt/notesSlides/_rels/notesSlide2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3.xml" />
  <Relationship Id="rId1" Type="http://schemas.openxmlformats.org/officeDocument/2006/relationships/notesMaster" Target="../notesMasters/notesMaster1.xml" />
</Relationships>
</file>

<file path=ppt/notesSlides/_rels/notesSlide2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4.xml" />
  <Relationship Id="rId1" Type="http://schemas.openxmlformats.org/officeDocument/2006/relationships/notesMaster" Target="../notesMasters/notesMaster1.xml" />
</Relationships>
</file>

<file path=ppt/notesSlides/_rels/notesSlide2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5.xml" />
  <Relationship Id="rId1" Type="http://schemas.openxmlformats.org/officeDocument/2006/relationships/notesMaster" Target="../notesMasters/notesMaster1.xml" />
</Relationships>
</file>

<file path=ppt/notesSlides/_rels/notesSlide2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6.xml" />
  <Relationship Id="rId1" Type="http://schemas.openxmlformats.org/officeDocument/2006/relationships/notesMaster" Target="../notesMasters/notesMaster1.xml" />
</Relationships>
</file>

<file path=ppt/notesSlides/_rels/notesSlide2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7.xml" />
  <Relationship Id="rId1" Type="http://schemas.openxmlformats.org/officeDocument/2006/relationships/notesMaster" Target="../notesMasters/notesMaster1.xml" />
</Relationships>
</file>

<file path=ppt/notesSlides/_rels/notesSlide2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8.xml" />
  <Relationship Id="rId1" Type="http://schemas.openxmlformats.org/officeDocument/2006/relationships/notesMaster" Target="../notesMasters/notesMaster1.xml" />
</Relationships>
</file>

<file path=ppt/notesSlides/_rels/notesSlide2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9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.xml" />
  <Relationship Id="rId1" Type="http://schemas.openxmlformats.org/officeDocument/2006/relationships/notesMaster" Target="../notesMasters/notesMaster1.xml" />
</Relationships>
</file>

<file path=ppt/notesSlides/_rels/notesSlide3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0.xml" />
  <Relationship Id="rId1" Type="http://schemas.openxmlformats.org/officeDocument/2006/relationships/notesMaster" Target="../notesMasters/notesMaster1.xml" />
</Relationships>
</file>

<file path=ppt/notesSlides/_rels/notesSlide3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1.xml" />
  <Relationship Id="rId1" Type="http://schemas.openxmlformats.org/officeDocument/2006/relationships/notesMaster" Target="../notesMasters/notesMaster1.xml" />
</Relationships>
</file>

<file path=ppt/notesSlides/_rels/notesSlide3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32.xml" />
  <Relationship Id="rId1" Type="http://schemas.openxmlformats.org/officeDocument/2006/relationships/notesMaster" Target="../notesMasters/notesMaster1.xml" />
</Relationships>
</file>

<file path=ppt/notesSlides/_rels/notesSlide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4.xml" />
  <Relationship Id="rId1" Type="http://schemas.openxmlformats.org/officeDocument/2006/relationships/notesMaster" Target="../notesMasters/notesMaster1.xml" />
</Relationships>
</file>

<file path=ppt/notesSlides/_rels/notesSlide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5.xml" />
  <Relationship Id="rId1" Type="http://schemas.openxmlformats.org/officeDocument/2006/relationships/notesMaster" Target="../notesMasters/notesMaster1.xml" />
</Relationships>
</file>

<file path=ppt/notesSlides/_rels/notesSlide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6.xml" />
  <Relationship Id="rId1" Type="http://schemas.openxmlformats.org/officeDocument/2006/relationships/notesMaster" Target="../notesMasters/notesMaster1.xml" />
</Relationships>
</file>

<file path=ppt/notesSlides/_rels/notesSlide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7.xml" />
  <Relationship Id="rId1" Type="http://schemas.openxmlformats.org/officeDocument/2006/relationships/notesMaster" Target="../notesMasters/notesMaster1.xml" />
</Relationships>
</file>

<file path=ppt/notesSlides/_rels/notesSlide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8.xml" />
  <Relationship Id="rId1" Type="http://schemas.openxmlformats.org/officeDocument/2006/relationships/notesMaster" Target="../notesMasters/notesMaster1.xml" />
</Relationships>
</file>

<file path=ppt/notesSlides/_rels/notesSlide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9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92377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21355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28835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85909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16366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01552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55174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2310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475640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3745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3663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74533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18647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1227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164625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2675" y="890588"/>
            <a:ext cx="4645025" cy="3484562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2622753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46337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83593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82675" y="890588"/>
            <a:ext cx="4645025" cy="3484562"/>
          </a:xfrm>
          <a:ln/>
        </p:spPr>
      </p:sp>
      <p:sp>
        <p:nvSpPr>
          <p:cNvPr id="27545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428500044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060993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776533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4899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85383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12231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442233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5175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5230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121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11890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975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3117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5545183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jpeg" />
  <Relationship Id="rId2" Type="http://schemas.openxmlformats.org/officeDocument/2006/relationships/image" Target="../media/image4.jpeg" />
  <Relationship Id="rId1" Type="http://schemas.openxmlformats.org/officeDocument/2006/relationships/slideMaster" Target="../slideMasters/slideMaster1.xml" />
</Relationships>
</file>

<file path=ppt/slideLayouts/_rels/slideLayout1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47.xml" />
  <Relationship Id="rId1" Type="http://schemas.openxmlformats.org/officeDocument/2006/relationships/tags" Target="../tags/tag46.xml" />
</Relationships>
</file>

<file path=ppt/slideLayouts/_rels/slideLayout11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48.xml" />
</Relationships>
</file>

<file path=ppt/slideLayouts/_rels/slideLayout12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55.xml" />
  <Relationship Id="rId13" Type="http://schemas.openxmlformats.org/officeDocument/2006/relationships/image" Target="../media/image8.png" />
  <Relationship Id="rId18" Type="http://schemas.openxmlformats.org/officeDocument/2006/relationships/oleObject" Target="../embeddings/oleObject2.bin" />
  <Relationship Id="rId3" Type="http://schemas.openxmlformats.org/officeDocument/2006/relationships/tags" Target="../tags/tag50.xml" />
  <Relationship Id="rId21" Type="http://schemas.openxmlformats.org/officeDocument/2006/relationships/image" Target="../media/image12.png" />
  <Relationship Id="rId7" Type="http://schemas.openxmlformats.org/officeDocument/2006/relationships/tags" Target="../tags/tag54.xml" />
  <Relationship Id="rId12" Type="http://schemas.openxmlformats.org/officeDocument/2006/relationships/slideMaster" Target="../slideMasters/slideMaster1.xml" />
  <Relationship Id="rId17" Type="http://schemas.openxmlformats.org/officeDocument/2006/relationships/image" Target="../media/image6.emf" />
  <Relationship Id="rId2" Type="http://schemas.openxmlformats.org/officeDocument/2006/relationships/tags" Target="../tags/tag49.xml" />
  <Relationship Id="rId16" Type="http://schemas.openxmlformats.org/officeDocument/2006/relationships/oleObject" Target="../embeddings/oleObject1.bin" />
  <Relationship Id="rId20" Type="http://schemas.openxmlformats.org/officeDocument/2006/relationships/image" Target="../media/image11.png" />
  <Relationship Id="rId1" Type="http://schemas.openxmlformats.org/officeDocument/2006/relationships/vmlDrawing" Target="../drawings/vmlDrawing1.vml" />
  <Relationship Id="rId6" Type="http://schemas.openxmlformats.org/officeDocument/2006/relationships/tags" Target="../tags/tag53.xml" />
  <Relationship Id="rId11" Type="http://schemas.openxmlformats.org/officeDocument/2006/relationships/tags" Target="../tags/tag58.xml" />
  <Relationship Id="rId5" Type="http://schemas.openxmlformats.org/officeDocument/2006/relationships/tags" Target="../tags/tag52.xml" />
  <Relationship Id="rId15" Type="http://schemas.openxmlformats.org/officeDocument/2006/relationships/image" Target="../media/image10.png" />
  <Relationship Id="rId10" Type="http://schemas.openxmlformats.org/officeDocument/2006/relationships/tags" Target="../tags/tag57.xml" />
  <Relationship Id="rId19" Type="http://schemas.openxmlformats.org/officeDocument/2006/relationships/image" Target="../media/image7.emf" />
  <Relationship Id="rId4" Type="http://schemas.openxmlformats.org/officeDocument/2006/relationships/tags" Target="../tags/tag51.xml" />
  <Relationship Id="rId9" Type="http://schemas.openxmlformats.org/officeDocument/2006/relationships/tags" Target="../tags/tag56.xml" />
  <Relationship Id="rId14" Type="http://schemas.openxmlformats.org/officeDocument/2006/relationships/image" Target="../media/image9.png" />
</Relationships>
</file>

<file path=ppt/slideLayouts/_rels/slideLayout13.xml.rels>&#65279;<?xml version="1.0" encoding="UTF-8" standalone="yes"?>
<Relationships xmlns="http://schemas.openxmlformats.org/package/2006/relationships">
  <Relationship Id="rId2" Type="http://schemas.openxmlformats.org/officeDocument/2006/relationships/slideMaster" Target="../slideMasters/slideMaster1.xml" />
  <Relationship Id="rId1" Type="http://schemas.openxmlformats.org/officeDocument/2006/relationships/tags" Target="../tags/tag59.xml" />
</Relationships>
</file>

<file path=ppt/slideLayouts/_rels/slideLayout14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1.xml" />
  <Relationship Id="rId1" Type="http://schemas.openxmlformats.org/officeDocument/2006/relationships/tags" Target="../tags/tag60.xml" />
</Relationships>
</file>

<file path=ppt/slideLayouts/_rels/slideLayout15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3.xml" />
  <Relationship Id="rId1" Type="http://schemas.openxmlformats.org/officeDocument/2006/relationships/tags" Target="../tags/tag62.xml" />
</Relationships>
</file>

<file path=ppt/slideLayouts/_rels/slideLayout16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5.xml" />
  <Relationship Id="rId1" Type="http://schemas.openxmlformats.org/officeDocument/2006/relationships/tags" Target="../tags/tag64.xml" />
</Relationships>
</file>

<file path=ppt/slideLayouts/_rels/slideLayout17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7.xml" />
  <Relationship Id="rId1" Type="http://schemas.openxmlformats.org/officeDocument/2006/relationships/tags" Target="../tags/tag66.xml" />
</Relationships>
</file>

<file path=ppt/slideLayouts/_rels/slideLayout1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69.xml" />
  <Relationship Id="rId1" Type="http://schemas.openxmlformats.org/officeDocument/2006/relationships/tags" Target="../tags/tag68.xml" />
</Relationships>
</file>

<file path=ppt/slideLayouts/_rels/slideLayout19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71.xml" />
  <Relationship Id="rId1" Type="http://schemas.openxmlformats.org/officeDocument/2006/relationships/tags" Target="../tags/tag70.xml" />
</Relationships>
</file>

<file path=ppt/slideLayouts/_rels/slideLayout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jpeg" />
  <Relationship Id="rId2" Type="http://schemas.openxmlformats.org/officeDocument/2006/relationships/image" Target="../media/image4.jpeg" />
  <Relationship Id="rId1" Type="http://schemas.openxmlformats.org/officeDocument/2006/relationships/slideMaster" Target="../slideMasters/slideMaster1.xml" />
</Relationships>
</file>

<file path=ppt/slideLayouts/_rels/slideLayout20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73.xml" />
  <Relationship Id="rId1" Type="http://schemas.openxmlformats.org/officeDocument/2006/relationships/tags" Target="../tags/tag72.xml" />
</Relationships>
</file>

<file path=ppt/slideLayouts/_rels/slideLayout2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2" Type="http://schemas.openxmlformats.org/officeDocument/2006/relationships/tags" Target="../tags/tag75.xml" />
  <Relationship Id="rId1" Type="http://schemas.openxmlformats.org/officeDocument/2006/relationships/tags" Target="../tags/tag74.xml" />
</Relationships>
</file>

<file path=ppt/slideLayouts/_rels/slideLayout22.xml.rels>&#65279;<?xml version="1.0" encoding="UTF-8" standalone="yes"?>
<Relationships xmlns="http://schemas.openxmlformats.org/package/2006/relationships">
  <Relationship Id="rId1" Type="http://schemas.openxmlformats.org/officeDocument/2006/relationships/slideMaster" Target="../slideMasters/slideMaster1.xml" />
</Relationships>
</file>

<file path=ppt/slideLayouts/_rels/slideLayout2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jpeg" />
  <Relationship Id="rId2" Type="http://schemas.openxmlformats.org/officeDocument/2006/relationships/image" Target="../media/image13.jpeg" />
  <Relationship Id="rId1" Type="http://schemas.openxmlformats.org/officeDocument/2006/relationships/slideMaster" Target="../slideMasters/slideMaster1.xml" />
</Relationships>
</file>

<file path=ppt/slideLayouts/_rels/slideLayout2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jpeg" />
  <Relationship Id="rId2" Type="http://schemas.openxmlformats.org/officeDocument/2006/relationships/image" Target="../media/image13.jpeg" />
  <Relationship Id="rId1" Type="http://schemas.openxmlformats.org/officeDocument/2006/relationships/slideMaster" Target="../slideMasters/slideMaster1.xml" />
</Relationships>
</file>

<file path=ppt/slideLayouts/_rels/slideLayout2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jpeg" />
  <Relationship Id="rId2" Type="http://schemas.openxmlformats.org/officeDocument/2006/relationships/image" Target="../media/image13.jpeg" />
  <Relationship Id="rId1" Type="http://schemas.openxmlformats.org/officeDocument/2006/relationships/slideMaster" Target="../slideMasters/slideMaster1.xml" />
</Relationships>
</file>

<file path=ppt/slideLayouts/_rels/slideLayout2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jpeg" />
  <Relationship Id="rId2" Type="http://schemas.openxmlformats.org/officeDocument/2006/relationships/image" Target="../media/image13.jpeg" />
  <Relationship Id="rId1" Type="http://schemas.openxmlformats.org/officeDocument/2006/relationships/slideMaster" Target="../slideMasters/slideMaster1.xml" />
</Relationships>
</file>

<file path=ppt/slideLayouts/_rels/slideLayout2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jpeg" />
  <Relationship Id="rId2" Type="http://schemas.openxmlformats.org/officeDocument/2006/relationships/image" Target="../media/image13.jpeg" />
  <Relationship Id="rId1" Type="http://schemas.openxmlformats.org/officeDocument/2006/relationships/slideMaster" Target="../slideMasters/slideMaster1.xml" />
</Relationships>
</file>

<file path=ppt/slideLayouts/_rels/slideLayout2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4.jpeg" />
  <Relationship Id="rId2" Type="http://schemas.openxmlformats.org/officeDocument/2006/relationships/image" Target="../media/image13.jpeg" />
  <Relationship Id="rId1" Type="http://schemas.openxmlformats.org/officeDocument/2006/relationships/slideMaster" Target="../slideMasters/slideMaster1.xml" />
</Relationships>
</file>

<file path=ppt/slideLayouts/_rels/slideLayout3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4.xml" />
  <Relationship Id="rId2" Type="http://schemas.openxmlformats.org/officeDocument/2006/relationships/tags" Target="../tags/tag3.xml" />
  <Relationship Id="rId1" Type="http://schemas.openxmlformats.org/officeDocument/2006/relationships/tags" Target="../tags/tag2.xml" />
  <Relationship Id="rId4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7.xml" />
  <Relationship Id="rId2" Type="http://schemas.openxmlformats.org/officeDocument/2006/relationships/tags" Target="../tags/tag6.xml" />
  <Relationship Id="rId1" Type="http://schemas.openxmlformats.org/officeDocument/2006/relationships/tags" Target="../tags/tag5.xml" />
  <Relationship Id="rId4" Type="http://schemas.openxmlformats.org/officeDocument/2006/relationships/slideMaster" Target="../slideMasters/slideMaster1.xml" />
</Relationships>
</file>

<file path=ppt/slideLayouts/_rels/slideLayout5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0.xml" />
  <Relationship Id="rId7" Type="http://schemas.openxmlformats.org/officeDocument/2006/relationships/slideMaster" Target="../slideMasters/slideMaster1.xml" />
  <Relationship Id="rId2" Type="http://schemas.openxmlformats.org/officeDocument/2006/relationships/tags" Target="../tags/tag9.xml" />
  <Relationship Id="rId1" Type="http://schemas.openxmlformats.org/officeDocument/2006/relationships/tags" Target="../tags/tag8.xml" />
  <Relationship Id="rId6" Type="http://schemas.openxmlformats.org/officeDocument/2006/relationships/tags" Target="../tags/tag13.xml" />
  <Relationship Id="rId5" Type="http://schemas.openxmlformats.org/officeDocument/2006/relationships/tags" Target="../tags/tag12.xml" />
  <Relationship Id="rId4" Type="http://schemas.openxmlformats.org/officeDocument/2006/relationships/tags" Target="../tags/tag11.xml" />
</Relationships>
</file>

<file path=ppt/slideLayouts/_rels/slideLayout6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6.xml" />
  <Relationship Id="rId7" Type="http://schemas.openxmlformats.org/officeDocument/2006/relationships/slideMaster" Target="../slideMasters/slideMaster1.xml" />
  <Relationship Id="rId2" Type="http://schemas.openxmlformats.org/officeDocument/2006/relationships/tags" Target="../tags/tag15.xml" />
  <Relationship Id="rId1" Type="http://schemas.openxmlformats.org/officeDocument/2006/relationships/tags" Target="../tags/tag14.xml" />
  <Relationship Id="rId6" Type="http://schemas.openxmlformats.org/officeDocument/2006/relationships/tags" Target="../tags/tag19.xml" />
  <Relationship Id="rId5" Type="http://schemas.openxmlformats.org/officeDocument/2006/relationships/tags" Target="../tags/tag18.xml" />
  <Relationship Id="rId4" Type="http://schemas.openxmlformats.org/officeDocument/2006/relationships/tags" Target="../tags/tag17.xml" />
</Relationships>
</file>

<file path=ppt/slideLayouts/_rels/slideLayout7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27.xml" />
  <Relationship Id="rId3" Type="http://schemas.openxmlformats.org/officeDocument/2006/relationships/tags" Target="../tags/tag22.xml" />
  <Relationship Id="rId7" Type="http://schemas.openxmlformats.org/officeDocument/2006/relationships/tags" Target="../tags/tag26.xml" />
  <Relationship Id="rId2" Type="http://schemas.openxmlformats.org/officeDocument/2006/relationships/tags" Target="../tags/tag21.xml" />
  <Relationship Id="rId1" Type="http://schemas.openxmlformats.org/officeDocument/2006/relationships/tags" Target="../tags/tag20.xml" />
  <Relationship Id="rId6" Type="http://schemas.openxmlformats.org/officeDocument/2006/relationships/tags" Target="../tags/tag25.xml" />
  <Relationship Id="rId5" Type="http://schemas.openxmlformats.org/officeDocument/2006/relationships/tags" Target="../tags/tag24.xml" />
  <Relationship Id="rId4" Type="http://schemas.openxmlformats.org/officeDocument/2006/relationships/tags" Target="../tags/tag23.xml" />
  <Relationship Id="rId9" Type="http://schemas.openxmlformats.org/officeDocument/2006/relationships/slideMaster" Target="../slideMasters/slideMaster1.xml" />
</Relationships>
</file>

<file path=ppt/slideLayouts/_rels/slideLayout8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35.xml" />
  <Relationship Id="rId3" Type="http://schemas.openxmlformats.org/officeDocument/2006/relationships/tags" Target="../tags/tag30.xml" />
  <Relationship Id="rId7" Type="http://schemas.openxmlformats.org/officeDocument/2006/relationships/tags" Target="../tags/tag34.xml" />
  <Relationship Id="rId2" Type="http://schemas.openxmlformats.org/officeDocument/2006/relationships/tags" Target="../tags/tag29.xml" />
  <Relationship Id="rId1" Type="http://schemas.openxmlformats.org/officeDocument/2006/relationships/tags" Target="../tags/tag28.xml" />
  <Relationship Id="rId6" Type="http://schemas.openxmlformats.org/officeDocument/2006/relationships/tags" Target="../tags/tag33.xml" />
  <Relationship Id="rId5" Type="http://schemas.openxmlformats.org/officeDocument/2006/relationships/tags" Target="../tags/tag32.xml" />
  <Relationship Id="rId4" Type="http://schemas.openxmlformats.org/officeDocument/2006/relationships/tags" Target="../tags/tag31.xml" />
  <Relationship Id="rId9" Type="http://schemas.openxmlformats.org/officeDocument/2006/relationships/slideMaster" Target="../slideMasters/slideMaster1.xml" />
</Relationships>
</file>

<file path=ppt/slideLayouts/_rels/slideLayout9.xml.rels>&#65279;<?xml version="1.0" encoding="UTF-8" standalone="yes"?>
<Relationships xmlns="http://schemas.openxmlformats.org/package/2006/relationships">
  <Relationship Id="rId8" Type="http://schemas.openxmlformats.org/officeDocument/2006/relationships/tags" Target="../tags/tag43.xml" />
  <Relationship Id="rId3" Type="http://schemas.openxmlformats.org/officeDocument/2006/relationships/tags" Target="../tags/tag38.xml" />
  <Relationship Id="rId7" Type="http://schemas.openxmlformats.org/officeDocument/2006/relationships/tags" Target="../tags/tag42.xml" />
  <Relationship Id="rId2" Type="http://schemas.openxmlformats.org/officeDocument/2006/relationships/tags" Target="../tags/tag37.xml" />
  <Relationship Id="rId1" Type="http://schemas.openxmlformats.org/officeDocument/2006/relationships/tags" Target="../tags/tag36.xml" />
  <Relationship Id="rId6" Type="http://schemas.openxmlformats.org/officeDocument/2006/relationships/tags" Target="../tags/tag41.xml" />
  <Relationship Id="rId11" Type="http://schemas.openxmlformats.org/officeDocument/2006/relationships/slideMaster" Target="../slideMasters/slideMaster1.xml" />
  <Relationship Id="rId5" Type="http://schemas.openxmlformats.org/officeDocument/2006/relationships/tags" Target="../tags/tag40.xml" />
  <Relationship Id="rId10" Type="http://schemas.openxmlformats.org/officeDocument/2006/relationships/tags" Target="../tags/tag45.xml" />
  <Relationship Id="rId4" Type="http://schemas.openxmlformats.org/officeDocument/2006/relationships/tags" Target="../tags/tag39.xml" />
  <Relationship Id="rId9" Type="http://schemas.openxmlformats.org/officeDocument/2006/relationships/tags" Target="../tags/tag44.xml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39" hidden="1"/>
          <p:cNvGrpSpPr>
            <a:grpSpLocks/>
          </p:cNvGrpSpPr>
          <p:nvPr userDrawn="1"/>
        </p:nvGrpSpPr>
        <p:grpSpPr bwMode="auto">
          <a:xfrm>
            <a:off x="0" y="0"/>
            <a:ext cx="9144000" cy="3411538"/>
            <a:chOff x="5905" y="0"/>
            <a:chExt cx="5760" cy="2149"/>
          </a:xfrm>
        </p:grpSpPr>
        <p:sp>
          <p:nvSpPr>
            <p:cNvPr id="17" name="Rectangle 616" hidden="1"/>
            <p:cNvSpPr>
              <a:spLocks noChangeArrowheads="1"/>
            </p:cNvSpPr>
            <p:nvPr userDrawn="1"/>
          </p:nvSpPr>
          <p:spPr bwMode="auto">
            <a:xfrm>
              <a:off x="5905" y="167"/>
              <a:ext cx="5760" cy="1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18" name="AutoShape 617" hidden="1"/>
            <p:cNvSpPr>
              <a:spLocks noChangeArrowheads="1"/>
            </p:cNvSpPr>
            <p:nvPr userDrawn="1"/>
          </p:nvSpPr>
          <p:spPr bwMode="auto">
            <a:xfrm rot="5400000">
              <a:off x="11495" y="1812"/>
              <a:ext cx="170" cy="170"/>
            </a:xfrm>
            <a:prstGeom prst="rtTriangle">
              <a:avLst/>
            </a:prstGeom>
            <a:solidFill>
              <a:srgbClr val="838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AutoShape 618" hidden="1"/>
            <p:cNvSpPr>
              <a:spLocks noChangeArrowheads="1"/>
            </p:cNvSpPr>
            <p:nvPr userDrawn="1"/>
          </p:nvSpPr>
          <p:spPr bwMode="auto">
            <a:xfrm rot="16200000">
              <a:off x="11495" y="1812"/>
              <a:ext cx="170" cy="17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22" name="Group 624" hidden="1"/>
            <p:cNvGrpSpPr>
              <a:grpSpLocks/>
            </p:cNvGrpSpPr>
            <p:nvPr userDrawn="1"/>
          </p:nvGrpSpPr>
          <p:grpSpPr bwMode="auto">
            <a:xfrm>
              <a:off x="5905" y="0"/>
              <a:ext cx="5760" cy="2149"/>
              <a:chOff x="5905" y="0"/>
              <a:chExt cx="5760" cy="2149"/>
            </a:xfrm>
          </p:grpSpPr>
          <p:sp>
            <p:nvSpPr>
              <p:cNvPr id="23" name="Rectangle 620" hidden="1"/>
              <p:cNvSpPr>
                <a:spLocks noChangeArrowheads="1"/>
              </p:cNvSpPr>
              <p:nvPr userDrawn="1"/>
            </p:nvSpPr>
            <p:spPr bwMode="auto">
              <a:xfrm>
                <a:off x="5905" y="0"/>
                <a:ext cx="5760" cy="17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" name="Rectangle 619" hidden="1"/>
              <p:cNvSpPr>
                <a:spLocks noChangeArrowheads="1"/>
              </p:cNvSpPr>
              <p:nvPr userDrawn="1"/>
            </p:nvSpPr>
            <p:spPr bwMode="auto">
              <a:xfrm>
                <a:off x="5905" y="1979"/>
                <a:ext cx="5760" cy="170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25" name="Group 638" hidden="1"/>
          <p:cNvGrpSpPr>
            <a:grpSpLocks/>
          </p:cNvGrpSpPr>
          <p:nvPr userDrawn="1"/>
        </p:nvGrpSpPr>
        <p:grpSpPr bwMode="auto">
          <a:xfrm>
            <a:off x="0" y="0"/>
            <a:ext cx="9144000" cy="3411538"/>
            <a:chOff x="-5864" y="0"/>
            <a:chExt cx="5760" cy="2149"/>
          </a:xfrm>
        </p:grpSpPr>
        <p:sp>
          <p:nvSpPr>
            <p:cNvPr id="26" name="Rectangle 631" hidden="1"/>
            <p:cNvSpPr>
              <a:spLocks noChangeArrowheads="1"/>
            </p:cNvSpPr>
            <p:nvPr userDrawn="1"/>
          </p:nvSpPr>
          <p:spPr bwMode="auto">
            <a:xfrm>
              <a:off x="-5864" y="334"/>
              <a:ext cx="5760" cy="1813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7" name="AutoShape 632" hidden="1"/>
            <p:cNvSpPr>
              <a:spLocks noChangeArrowheads="1"/>
            </p:cNvSpPr>
            <p:nvPr userDrawn="1"/>
          </p:nvSpPr>
          <p:spPr bwMode="auto">
            <a:xfrm rot="5400000">
              <a:off x="-274" y="1979"/>
              <a:ext cx="170" cy="170"/>
            </a:xfrm>
            <a:prstGeom prst="rtTriangle">
              <a:avLst/>
            </a:prstGeom>
            <a:solidFill>
              <a:srgbClr val="7F12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AutoShape 633" hidden="1"/>
            <p:cNvSpPr>
              <a:spLocks noChangeArrowheads="1"/>
            </p:cNvSpPr>
            <p:nvPr userDrawn="1"/>
          </p:nvSpPr>
          <p:spPr bwMode="auto">
            <a:xfrm rot="16200000">
              <a:off x="-274" y="1979"/>
              <a:ext cx="170" cy="17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Rectangle 634" hidden="1"/>
            <p:cNvSpPr>
              <a:spLocks noChangeArrowheads="1"/>
            </p:cNvSpPr>
            <p:nvPr userDrawn="1"/>
          </p:nvSpPr>
          <p:spPr bwMode="auto">
            <a:xfrm>
              <a:off x="-5864" y="168"/>
              <a:ext cx="5760" cy="1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Rectangle 635" hidden="1"/>
            <p:cNvSpPr>
              <a:spLocks noChangeArrowheads="1"/>
            </p:cNvSpPr>
            <p:nvPr userDrawn="1"/>
          </p:nvSpPr>
          <p:spPr bwMode="auto">
            <a:xfrm>
              <a:off x="-5864" y="0"/>
              <a:ext cx="5760" cy="17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31" name="Group 641"/>
          <p:cNvGrpSpPr>
            <a:grpSpLocks/>
          </p:cNvGrpSpPr>
          <p:nvPr userDrawn="1"/>
        </p:nvGrpSpPr>
        <p:grpSpPr bwMode="auto">
          <a:xfrm>
            <a:off x="0" y="0"/>
            <a:ext cx="9144000" cy="3411538"/>
            <a:chOff x="0" y="0"/>
            <a:chExt cx="5760" cy="2149"/>
          </a:xfrm>
        </p:grpSpPr>
        <p:sp>
          <p:nvSpPr>
            <p:cNvPr id="32" name="Rectangle 60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18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33" name="AutoShape 603"/>
            <p:cNvSpPr>
              <a:spLocks noChangeArrowheads="1"/>
            </p:cNvSpPr>
            <p:nvPr userDrawn="1"/>
          </p:nvSpPr>
          <p:spPr bwMode="auto">
            <a:xfrm rot="5400000">
              <a:off x="5590" y="1645"/>
              <a:ext cx="170" cy="170"/>
            </a:xfrm>
            <a:prstGeom prst="rtTriangle">
              <a:avLst/>
            </a:prstGeom>
            <a:solidFill>
              <a:srgbClr val="3C8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AutoShape 608"/>
            <p:cNvSpPr>
              <a:spLocks noChangeArrowheads="1"/>
            </p:cNvSpPr>
            <p:nvPr userDrawn="1"/>
          </p:nvSpPr>
          <p:spPr bwMode="auto">
            <a:xfrm rot="16200000">
              <a:off x="5590" y="1645"/>
              <a:ext cx="170" cy="17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Rectangle 566"/>
            <p:cNvSpPr>
              <a:spLocks noChangeArrowheads="1"/>
            </p:cNvSpPr>
            <p:nvPr userDrawn="1"/>
          </p:nvSpPr>
          <p:spPr bwMode="auto">
            <a:xfrm>
              <a:off x="0" y="1979"/>
              <a:ext cx="5760" cy="17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Rectangle 567"/>
            <p:cNvSpPr>
              <a:spLocks noChangeArrowheads="1"/>
            </p:cNvSpPr>
            <p:nvPr userDrawn="1"/>
          </p:nvSpPr>
          <p:spPr bwMode="auto">
            <a:xfrm>
              <a:off x="0" y="1811"/>
              <a:ext cx="5760" cy="1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365760" y="722376"/>
            <a:ext cx="8397875" cy="723275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Klik om de stijl te bewerken</a:t>
            </a:r>
            <a:endParaRPr lang="nl-NL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377824" y="3886200"/>
            <a:ext cx="8397875" cy="323165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smtClean="0"/>
              <a:t>Klik om de ondertitelstijl van het model te bewerken</a:t>
            </a:r>
            <a:endParaRPr lang="nl-NL"/>
          </a:p>
        </p:txBody>
      </p:sp>
      <p:pic>
        <p:nvPicPr>
          <p:cNvPr id="13" name="Picture 640" descr="bf_logo_property development rgb" hidden="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5" t="14999" r="6476" b="17592"/>
          <a:stretch>
            <a:fillRect/>
          </a:stretch>
        </p:blipFill>
        <p:spPr bwMode="auto">
          <a:xfrm>
            <a:off x="325438" y="5916613"/>
            <a:ext cx="2711450" cy="57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01" descr="bf_ontwikkeling+payoff_RGB_ZWAR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" b="8057"/>
          <a:stretch>
            <a:fillRect/>
          </a:stretch>
        </p:blipFill>
        <p:spPr bwMode="auto">
          <a:xfrm>
            <a:off x="0" y="5408613"/>
            <a:ext cx="8101013" cy="144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4445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0992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67477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rte uitleg sjablo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ictogrammen in de indeling Titel en object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0638" y="1587799"/>
            <a:ext cx="1135062" cy="795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965951" y="5194300"/>
            <a:ext cx="1809750" cy="8079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000" dirty="0" smtClean="0"/>
              <a:t>Dia’s uit het bestand “Voorbeelddia’s Bouwfonds Ontwikkeling PPT </a:t>
            </a:r>
            <a:r>
              <a:rPr lang="nl-NL" sz="1000" dirty="0"/>
              <a:t>2010” </a:t>
            </a:r>
            <a:r>
              <a:rPr lang="nl-NL" sz="1000" dirty="0" smtClean="0"/>
              <a:t>voegt u in met de knop </a:t>
            </a:r>
            <a:r>
              <a:rPr lang="nl-NL" sz="1000" b="1" dirty="0" smtClean="0"/>
              <a:t>Dia’s opnieuw gebruiken </a:t>
            </a:r>
            <a:r>
              <a:rPr lang="nl-NL" sz="1000" b="0" dirty="0" smtClean="0"/>
              <a:t>(</a:t>
            </a:r>
            <a:r>
              <a:rPr lang="nl-NL" sz="1000" b="0" dirty="0" err="1" smtClean="0"/>
              <a:t>Reuse</a:t>
            </a:r>
            <a:r>
              <a:rPr lang="nl-NL" sz="1000" b="0" dirty="0" smtClean="0"/>
              <a:t> slides).</a:t>
            </a:r>
            <a:endParaRPr lang="nl-NL" sz="1000" b="0" dirty="0"/>
          </a:p>
        </p:txBody>
      </p:sp>
      <p:pic>
        <p:nvPicPr>
          <p:cNvPr id="10" name="Picture 79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730100" y="4318000"/>
            <a:ext cx="3045600" cy="74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Content Placeholder 6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4743900" y="5194300"/>
            <a:ext cx="2066475" cy="8080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000"/>
              <a:t>Met het </a:t>
            </a:r>
            <a:r>
              <a:rPr lang="nl-NL" sz="1000" b="1" smtClean="0"/>
              <a:t>PowerPoint menu</a:t>
            </a:r>
            <a:r>
              <a:rPr lang="nl-NL" sz="1000"/>
              <a:t>, welke u vind </a:t>
            </a:r>
            <a:r>
              <a:rPr lang="nl-NL" sz="1000" smtClean="0"/>
              <a:t>achteraan op de Home-tab, </a:t>
            </a:r>
            <a:r>
              <a:rPr lang="nl-NL" sz="1000"/>
              <a:t>kunt </a:t>
            </a:r>
            <a:r>
              <a:rPr lang="nl-NL" sz="1000" smtClean="0"/>
              <a:t>u switchen van kleur en tussen Ontwikkeling en Property Development.</a:t>
            </a:r>
            <a:endParaRPr lang="nl-NL" sz="1000" dirty="0"/>
          </a:p>
        </p:txBody>
      </p:sp>
      <p:sp>
        <p:nvSpPr>
          <p:cNvPr id="16" name="Content Placeholder 6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743900" y="2803525"/>
            <a:ext cx="1895025" cy="1320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nl-NL" sz="1000" dirty="0" smtClean="0"/>
              <a:t>Voor het invoegen van een </a:t>
            </a:r>
            <a:r>
              <a:rPr lang="nl-NL" sz="1000" b="1" dirty="0" smtClean="0"/>
              <a:t>grafiek</a:t>
            </a:r>
            <a:r>
              <a:rPr lang="nl-NL" sz="1000" dirty="0" smtClean="0"/>
              <a:t> klikt u op het grafiek pictogram.</a:t>
            </a:r>
          </a:p>
          <a:p>
            <a:pPr marL="0" indent="0">
              <a:buFont typeface="Arial" pitchFamily="34" charset="0"/>
              <a:buNone/>
            </a:pPr>
            <a:r>
              <a:rPr lang="nl-NL" sz="1000" dirty="0" smtClean="0"/>
              <a:t>Klik vervolgens bovenaan in de lijst op Sjablonen</a:t>
            </a:r>
            <a:r>
              <a:rPr lang="nl-NL" sz="1000" baseline="0" dirty="0" smtClean="0"/>
              <a:t> </a:t>
            </a:r>
            <a:r>
              <a:rPr lang="nl-NL" sz="1000" dirty="0" smtClean="0"/>
              <a:t>en vervolgens opent een scherm met alle Bouwfonds grafiektypen. Kies er één om deze in te voegen.</a:t>
            </a:r>
            <a:endParaRPr lang="nl-NL" sz="1000" dirty="0"/>
          </a:p>
        </p:txBody>
      </p:sp>
      <p:pic>
        <p:nvPicPr>
          <p:cNvPr id="17" name="Picture 84"/>
          <p:cNvPicPr>
            <a:picLocks noChangeAspect="1" noChangeArrowheads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788500" y="2668897"/>
            <a:ext cx="1987200" cy="1390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Content Placeholder 7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2249424" y="5032842"/>
            <a:ext cx="1812036" cy="9694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000" dirty="0"/>
              <a:t>De </a:t>
            </a:r>
            <a:r>
              <a:rPr lang="nl-NL" sz="1000" dirty="0" smtClean="0"/>
              <a:t>dia met </a:t>
            </a:r>
            <a:r>
              <a:rPr lang="nl-NL" sz="1000" dirty="0"/>
              <a:t>de positie van de </a:t>
            </a:r>
            <a:r>
              <a:rPr lang="nl-NL" sz="1000" b="1" dirty="0"/>
              <a:t>PowerPoint </a:t>
            </a:r>
            <a:r>
              <a:rPr lang="nl-NL" sz="1000" b="1" dirty="0" smtClean="0"/>
              <a:t>hulplijnen </a:t>
            </a:r>
            <a:r>
              <a:rPr lang="nl-NL" sz="1000" b="0" dirty="0" smtClean="0"/>
              <a:t>en de dia met de </a:t>
            </a:r>
            <a:r>
              <a:rPr lang="nl-NL" sz="1000" b="1" dirty="0" smtClean="0"/>
              <a:t>korte uitleg</a:t>
            </a:r>
            <a:r>
              <a:rPr lang="nl-NL" sz="1000" b="1" baseline="0" dirty="0" smtClean="0"/>
              <a:t> over het gebruik van het sjabloon </a:t>
            </a:r>
            <a:r>
              <a:rPr lang="nl-NL" sz="1000" b="0" baseline="0" dirty="0" smtClean="0"/>
              <a:t>zijn</a:t>
            </a:r>
            <a:r>
              <a:rPr lang="nl-NL" sz="1000" dirty="0" smtClean="0"/>
              <a:t> </a:t>
            </a:r>
            <a:r>
              <a:rPr lang="nl-NL" sz="1000" dirty="0"/>
              <a:t>opgenomen als een aparte </a:t>
            </a:r>
            <a:r>
              <a:rPr lang="nl-NL" sz="1000" dirty="0" smtClean="0"/>
              <a:t>Dia-indeling.</a:t>
            </a:r>
            <a:endParaRPr lang="nl-NL" sz="1000" dirty="0"/>
          </a:p>
        </p:txBody>
      </p:sp>
      <p:sp>
        <p:nvSpPr>
          <p:cNvPr id="20" name="Content Placeholder 7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77824" y="1174750"/>
            <a:ext cx="3993007" cy="1281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000" dirty="0" smtClean="0"/>
              <a:t>Wanneer u een dia invoegt, kunt u kiezen voor een dia waarop automatisch een indeling wordt toegepast, een </a:t>
            </a:r>
            <a:r>
              <a:rPr lang="nl-NL" sz="1000" b="1" dirty="0" smtClean="0"/>
              <a:t>Dia-indeling</a:t>
            </a:r>
            <a:r>
              <a:rPr lang="nl-NL" sz="1000" dirty="0" smtClean="0"/>
              <a:t>.</a:t>
            </a:r>
          </a:p>
          <a:p>
            <a:pPr marL="0" indent="0">
              <a:buNone/>
            </a:pPr>
            <a:r>
              <a:rPr lang="nl-NL" sz="1000" dirty="0" smtClean="0"/>
              <a:t>U kunt ook een dia-indeling kiezen voordat u de dia invoegt.  </a:t>
            </a:r>
          </a:p>
          <a:p>
            <a:pPr marL="0" indent="0">
              <a:buNone/>
            </a:pPr>
            <a:endParaRPr lang="nl-NL" sz="1000" dirty="0" smtClean="0"/>
          </a:p>
          <a:p>
            <a:pPr marL="0" indent="0">
              <a:buNone/>
            </a:pPr>
            <a:r>
              <a:rPr lang="nl-NL" sz="1000" dirty="0" smtClean="0"/>
              <a:t>Een nieuwe dia invoegen:</a:t>
            </a:r>
          </a:p>
          <a:p>
            <a:pPr marL="228600" indent="-228600">
              <a:buFont typeface="+mj-lt"/>
              <a:buAutoNum type="arabicPeriod"/>
            </a:pPr>
            <a:r>
              <a:rPr lang="nl-NL" sz="1000" dirty="0" smtClean="0"/>
              <a:t>Klik op het tabblad Start op Nieuwe Dia (onder het </a:t>
            </a:r>
            <a:r>
              <a:rPr lang="nl-NL" sz="1000" dirty="0" err="1" smtClean="0"/>
              <a:t>diapictogram</a:t>
            </a:r>
            <a:r>
              <a:rPr lang="nl-NL" sz="1000" dirty="0" smtClean="0"/>
              <a:t>). Hierdoor worden de indelingsopties weergegeven.</a:t>
            </a:r>
          </a:p>
          <a:p>
            <a:pPr marL="228600" indent="-228600">
              <a:buFont typeface="+mj-lt"/>
              <a:buAutoNum type="arabicPeriod"/>
            </a:pPr>
            <a:r>
              <a:rPr lang="nl-NL" sz="1000" dirty="0" smtClean="0"/>
              <a:t>Klik op een Dia-indeling van uw keuze om deze in te voegen. </a:t>
            </a:r>
            <a:endParaRPr lang="nl-NL" sz="1000" dirty="0"/>
          </a:p>
        </p:txBody>
      </p:sp>
      <p:sp>
        <p:nvSpPr>
          <p:cNvPr id="21" name="Content Placeholder 6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4743900" y="1174750"/>
            <a:ext cx="4031800" cy="1460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000" dirty="0" smtClean="0"/>
              <a:t>De meeste Dia-indelingen bevatten tijdelijke aanduidingen voor inhoud (</a:t>
            </a:r>
            <a:r>
              <a:rPr lang="nl-NL" sz="1000" dirty="0" err="1" smtClean="0"/>
              <a:t>Placeholders</a:t>
            </a:r>
            <a:r>
              <a:rPr lang="nl-NL" sz="1000" dirty="0" smtClean="0"/>
              <a:t>), die u kunt gebruiken voor tekst of afbeeldingen.</a:t>
            </a:r>
          </a:p>
          <a:p>
            <a:pPr marL="0" indent="0">
              <a:buNone/>
            </a:pPr>
            <a:r>
              <a:rPr lang="nl-NL" sz="1000" dirty="0" smtClean="0"/>
              <a:t>Klik op het gewenste pictogram om het </a:t>
            </a:r>
            <a:br>
              <a:rPr lang="nl-NL" sz="1000" dirty="0" smtClean="0"/>
            </a:br>
            <a:r>
              <a:rPr lang="nl-NL" sz="1000" dirty="0" smtClean="0"/>
              <a:t>desbetreffende type inhoud in te voegen, zoals </a:t>
            </a:r>
            <a:br>
              <a:rPr lang="nl-NL" sz="1000" dirty="0" smtClean="0"/>
            </a:br>
            <a:r>
              <a:rPr lang="nl-NL" sz="1000" dirty="0" smtClean="0"/>
              <a:t>een tabel, een grafiek, een </a:t>
            </a:r>
            <a:r>
              <a:rPr lang="nl-NL" sz="1000" dirty="0" err="1" smtClean="0"/>
              <a:t>SmartArt</a:t>
            </a:r>
            <a:r>
              <a:rPr lang="nl-NL" sz="1000" dirty="0" smtClean="0"/>
              <a:t>™-afbeelding, </a:t>
            </a:r>
            <a:br>
              <a:rPr lang="nl-NL" sz="1000" dirty="0" smtClean="0"/>
            </a:br>
            <a:r>
              <a:rPr lang="nl-NL" sz="1000" dirty="0" smtClean="0"/>
              <a:t>een afbeelding uit een bestand, een illustratie of </a:t>
            </a:r>
            <a:br>
              <a:rPr lang="nl-NL" sz="1000" dirty="0" smtClean="0"/>
            </a:br>
            <a:r>
              <a:rPr lang="nl-NL" sz="1000" dirty="0" smtClean="0"/>
              <a:t>een videobestand. U kunt de pictogrammen ook </a:t>
            </a:r>
            <a:br>
              <a:rPr lang="nl-NL" sz="1000" dirty="0" smtClean="0"/>
            </a:br>
            <a:r>
              <a:rPr lang="nl-NL" sz="1000" dirty="0" smtClean="0"/>
              <a:t>negeren en tekst typen, iets wat bij deze indeling </a:t>
            </a:r>
            <a:br>
              <a:rPr lang="nl-NL" sz="1000" dirty="0" smtClean="0"/>
            </a:br>
            <a:r>
              <a:rPr lang="nl-NL" sz="1000" dirty="0" smtClean="0"/>
              <a:t>ook wordt ondersteund. </a:t>
            </a:r>
            <a:endParaRPr lang="nl-NL" sz="1000" dirty="0"/>
          </a:p>
        </p:txBody>
      </p:sp>
      <p:sp>
        <p:nvSpPr>
          <p:cNvPr id="19" name="Content Placeholder 7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77824" y="207963"/>
            <a:ext cx="8389658" cy="4847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66700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1338" indent="-274638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80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47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6700" algn="l" defTabSz="914400" rtl="0" eaLnBrk="1" latinLnBrk="0" hangingPunct="1">
              <a:lnSpc>
                <a:spcPct val="105000"/>
              </a:lnSpc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3000" b="1" dirty="0" smtClean="0"/>
              <a:t>Korte uitleg bij gebruik van het sjabloon</a:t>
            </a:r>
            <a:endParaRPr lang="nl-NL" sz="3000" b="1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377824" y="2536734"/>
            <a:ext cx="1999616" cy="3675380"/>
            <a:chOff x="377824" y="2536734"/>
            <a:chExt cx="1999616" cy="3675380"/>
          </a:xfrm>
        </p:grpSpPr>
        <p:grpSp>
          <p:nvGrpSpPr>
            <p:cNvPr id="23" name="Group 22"/>
            <p:cNvGrpSpPr/>
            <p:nvPr userDrawn="1"/>
          </p:nvGrpSpPr>
          <p:grpSpPr>
            <a:xfrm>
              <a:off x="377824" y="2536734"/>
              <a:ext cx="1999616" cy="3675380"/>
              <a:chOff x="377824" y="2536734"/>
              <a:chExt cx="1999616" cy="3675380"/>
            </a:xfrm>
          </p:grpSpPr>
          <p:graphicFrame>
            <p:nvGraphicFramePr>
              <p:cNvPr id="25" name="Object 5"/>
              <p:cNvGraphicFramePr>
                <a:graphicFrameLocks noChangeAspect="1"/>
              </p:cNvGraphicFramePr>
              <p:nvPr>
                <p:custDataLst>
                  <p:tags r:id="rId10"/>
                </p:custDataLst>
                <p:extLst>
                  <p:ext uri="{D42A27DB-BD31-4B8C-83A1-F6EECF244321}">
                    <p14:modId xmlns:p14="http://schemas.microsoft.com/office/powerpoint/2010/main" val="2232016121"/>
                  </p:ext>
                </p:extLst>
              </p:nvPr>
            </p:nvGraphicFramePr>
            <p:xfrm>
              <a:off x="2171202" y="3986213"/>
              <a:ext cx="206238" cy="214058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217" name="Visio" r:id="rId16" imgW="270231" imgH="303063" progId="">
                      <p:embed/>
                    </p:oleObj>
                  </mc:Choice>
                  <mc:Fallback>
                    <p:oleObj name="Visio" r:id="rId16" imgW="270231" imgH="303063" progId="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171202" y="3986213"/>
                            <a:ext cx="206238" cy="214058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26" name="Object 6"/>
              <p:cNvGraphicFramePr>
                <a:graphicFrameLocks noChangeAspect="1"/>
              </p:cNvGraphicFramePr>
              <p:nvPr>
                <p:custDataLst>
                  <p:tags r:id="rId11"/>
                </p:custDataLst>
                <p:extLst>
                  <p:ext uri="{D42A27DB-BD31-4B8C-83A1-F6EECF244321}">
                    <p14:modId xmlns:p14="http://schemas.microsoft.com/office/powerpoint/2010/main" val="4288569685"/>
                  </p:ext>
                </p:extLst>
              </p:nvPr>
            </p:nvGraphicFramePr>
            <p:xfrm>
              <a:off x="377825" y="2536734"/>
              <a:ext cx="206238" cy="214057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2218" name="Visio" r:id="rId18" imgW="270231" imgH="303063" progId="">
                      <p:embed/>
                    </p:oleObj>
                  </mc:Choice>
                  <mc:Fallback>
                    <p:oleObj name="Visio" r:id="rId18" imgW="270231" imgH="303063" progId="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77825" y="2536734"/>
                            <a:ext cx="206238" cy="214057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chemeClr val="accent1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chemeClr val="tx1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  <a:ext uri="{AF507438-7753-43E0-B8FC-AC1667EBCBE1}">
                              <a14:hiddenEffects xmlns:a14="http://schemas.microsoft.com/office/drawing/2010/main">
                                <a:effectLst>
                                  <a:outerShdw dist="35921" dir="2700000" algn="ctr" rotWithShape="0">
                                    <a:schemeClr val="bg2"/>
                                  </a:outerShdw>
                                </a:effectLst>
                              </a14:hiddenEffects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pic>
            <p:nvPicPr>
              <p:cNvPr id="27" name="Picture 4"/>
              <p:cNvPicPr>
                <a:picLocks noChangeAspect="1" noChangeArrowheads="1"/>
              </p:cNvPicPr>
              <p:nvPr userDrawn="1"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377824" y="2786742"/>
                <a:ext cx="1740895" cy="3425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pic>
          <p:nvPicPr>
            <p:cNvPr id="24" name="Picture 2"/>
            <p:cNvPicPr>
              <a:picLocks noChangeAspect="1" noChangeArrowheads="1"/>
            </p:cNvPicPr>
            <p:nvPr userDrawn="1"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537041" y="5019675"/>
              <a:ext cx="560841" cy="6096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25832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Point Hulplij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PowerPoint Hulplijnen</a:t>
            </a:r>
            <a:endParaRPr lang="nl-NL"/>
          </a:p>
        </p:txBody>
      </p:sp>
      <p:grpSp>
        <p:nvGrpSpPr>
          <p:cNvPr id="8" name="Group 34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10" name="Line 30"/>
            <p:cNvSpPr>
              <a:spLocks noChangeShapeType="1"/>
            </p:cNvSpPr>
            <p:nvPr userDrawn="1"/>
          </p:nvSpPr>
          <p:spPr bwMode="auto">
            <a:xfrm>
              <a:off x="232" y="0"/>
              <a:ext cx="0" cy="432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GB"/>
            </a:p>
          </p:txBody>
        </p:sp>
        <p:sp>
          <p:nvSpPr>
            <p:cNvPr id="11" name="Line 31"/>
            <p:cNvSpPr>
              <a:spLocks noChangeShapeType="1"/>
            </p:cNvSpPr>
            <p:nvPr userDrawn="1"/>
          </p:nvSpPr>
          <p:spPr bwMode="auto">
            <a:xfrm>
              <a:off x="5530" y="0"/>
              <a:ext cx="0" cy="432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GB"/>
            </a:p>
          </p:txBody>
        </p:sp>
        <p:sp>
          <p:nvSpPr>
            <p:cNvPr id="12" name="Line 32"/>
            <p:cNvSpPr>
              <a:spLocks noChangeShapeType="1"/>
            </p:cNvSpPr>
            <p:nvPr userDrawn="1"/>
          </p:nvSpPr>
          <p:spPr bwMode="auto">
            <a:xfrm>
              <a:off x="0" y="3781"/>
              <a:ext cx="576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GB"/>
            </a:p>
          </p:txBody>
        </p:sp>
        <p:sp>
          <p:nvSpPr>
            <p:cNvPr id="15" name="Line 33"/>
            <p:cNvSpPr>
              <a:spLocks noChangeShapeType="1"/>
            </p:cNvSpPr>
            <p:nvPr userDrawn="1"/>
          </p:nvSpPr>
          <p:spPr bwMode="auto">
            <a:xfrm>
              <a:off x="0" y="741"/>
              <a:ext cx="576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/>
            <a:lstStyle/>
            <a:p>
              <a:endParaRPr lang="en-GB"/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59016" y="3532094"/>
            <a:ext cx="61856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nl-NL" sz="1400" smtClean="0"/>
              <a:t>11,68</a:t>
            </a:r>
            <a:endParaRPr lang="nl-NL" sz="1400"/>
          </a:p>
        </p:txBody>
      </p:sp>
      <p:sp>
        <p:nvSpPr>
          <p:cNvPr id="17" name="TextBox 16"/>
          <p:cNvSpPr txBox="1"/>
          <p:nvPr userDrawn="1"/>
        </p:nvSpPr>
        <p:spPr>
          <a:xfrm>
            <a:off x="8466416" y="3532094"/>
            <a:ext cx="618567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nl-NL" sz="1400" smtClean="0"/>
              <a:t>11,68</a:t>
            </a:r>
            <a:endParaRPr lang="nl-NL" sz="140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4305739" y="5876440"/>
            <a:ext cx="532518" cy="251795"/>
          </a:xfrm>
          <a:prstGeom prst="rect">
            <a:avLst/>
          </a:prstGeom>
          <a:solidFill>
            <a:schemeClr val="bg1"/>
          </a:solidFill>
        </p:spPr>
        <p:txBody>
          <a:bodyPr wrap="none" tIns="18000" bIns="18000" rtlCol="0">
            <a:spAutoFit/>
          </a:bodyPr>
          <a:lstStyle/>
          <a:p>
            <a:pPr algn="ctr"/>
            <a:r>
              <a:rPr lang="nl-NL" sz="1400" smtClean="0"/>
              <a:t>7,15</a:t>
            </a:r>
            <a:endParaRPr lang="nl-NL" sz="140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4305740" y="1020861"/>
            <a:ext cx="532518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nl-NL" sz="1400" smtClean="0"/>
              <a:t>6,26</a:t>
            </a:r>
            <a:endParaRPr lang="nl-NL" sz="1400"/>
          </a:p>
        </p:txBody>
      </p:sp>
    </p:spTree>
    <p:extLst>
      <p:ext uri="{BB962C8B-B14F-4D97-AF65-F5344CB8AC3E}">
        <p14:creationId xmlns:p14="http://schemas.microsoft.com/office/powerpoint/2010/main" val="2037105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41138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4018712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686525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2573863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1128974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516061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dankt voor uw aanda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639" hidden="1"/>
          <p:cNvGrpSpPr>
            <a:grpSpLocks/>
          </p:cNvGrpSpPr>
          <p:nvPr userDrawn="1"/>
        </p:nvGrpSpPr>
        <p:grpSpPr bwMode="auto">
          <a:xfrm>
            <a:off x="0" y="0"/>
            <a:ext cx="9144000" cy="3411538"/>
            <a:chOff x="5905" y="0"/>
            <a:chExt cx="5760" cy="2149"/>
          </a:xfrm>
        </p:grpSpPr>
        <p:sp>
          <p:nvSpPr>
            <p:cNvPr id="17" name="Rectangle 616" hidden="1"/>
            <p:cNvSpPr>
              <a:spLocks noChangeArrowheads="1"/>
            </p:cNvSpPr>
            <p:nvPr userDrawn="1"/>
          </p:nvSpPr>
          <p:spPr bwMode="auto">
            <a:xfrm>
              <a:off x="5905" y="167"/>
              <a:ext cx="5760" cy="181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18" name="AutoShape 617" hidden="1"/>
            <p:cNvSpPr>
              <a:spLocks noChangeArrowheads="1"/>
            </p:cNvSpPr>
            <p:nvPr userDrawn="1"/>
          </p:nvSpPr>
          <p:spPr bwMode="auto">
            <a:xfrm rot="5400000">
              <a:off x="11495" y="1812"/>
              <a:ext cx="170" cy="170"/>
            </a:xfrm>
            <a:prstGeom prst="rtTriangle">
              <a:avLst/>
            </a:prstGeom>
            <a:solidFill>
              <a:srgbClr val="838A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" name="AutoShape 618" hidden="1"/>
            <p:cNvSpPr>
              <a:spLocks noChangeArrowheads="1"/>
            </p:cNvSpPr>
            <p:nvPr userDrawn="1"/>
          </p:nvSpPr>
          <p:spPr bwMode="auto">
            <a:xfrm rot="16200000">
              <a:off x="11495" y="1812"/>
              <a:ext cx="170" cy="17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22" name="Group 624" hidden="1"/>
            <p:cNvGrpSpPr>
              <a:grpSpLocks/>
            </p:cNvGrpSpPr>
            <p:nvPr userDrawn="1"/>
          </p:nvGrpSpPr>
          <p:grpSpPr bwMode="auto">
            <a:xfrm>
              <a:off x="5905" y="0"/>
              <a:ext cx="5760" cy="2149"/>
              <a:chOff x="5905" y="0"/>
              <a:chExt cx="5760" cy="2149"/>
            </a:xfrm>
          </p:grpSpPr>
          <p:sp>
            <p:nvSpPr>
              <p:cNvPr id="23" name="Rectangle 620" hidden="1"/>
              <p:cNvSpPr>
                <a:spLocks noChangeArrowheads="1"/>
              </p:cNvSpPr>
              <p:nvPr userDrawn="1"/>
            </p:nvSpPr>
            <p:spPr bwMode="auto">
              <a:xfrm>
                <a:off x="5905" y="0"/>
                <a:ext cx="5760" cy="17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24" name="Rectangle 619" hidden="1"/>
              <p:cNvSpPr>
                <a:spLocks noChangeArrowheads="1"/>
              </p:cNvSpPr>
              <p:nvPr userDrawn="1"/>
            </p:nvSpPr>
            <p:spPr bwMode="auto">
              <a:xfrm>
                <a:off x="5905" y="1979"/>
                <a:ext cx="5760" cy="170"/>
              </a:xfrm>
              <a:prstGeom prst="rect">
                <a:avLst/>
              </a:prstGeom>
              <a:solidFill>
                <a:schemeClr val="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</p:grpSp>
      <p:grpSp>
        <p:nvGrpSpPr>
          <p:cNvPr id="25" name="Group 638" hidden="1"/>
          <p:cNvGrpSpPr>
            <a:grpSpLocks/>
          </p:cNvGrpSpPr>
          <p:nvPr userDrawn="1"/>
        </p:nvGrpSpPr>
        <p:grpSpPr bwMode="auto">
          <a:xfrm>
            <a:off x="0" y="0"/>
            <a:ext cx="9144000" cy="3411538"/>
            <a:chOff x="-5864" y="0"/>
            <a:chExt cx="5760" cy="2149"/>
          </a:xfrm>
        </p:grpSpPr>
        <p:sp>
          <p:nvSpPr>
            <p:cNvPr id="26" name="Rectangle 631" hidden="1"/>
            <p:cNvSpPr>
              <a:spLocks noChangeArrowheads="1"/>
            </p:cNvSpPr>
            <p:nvPr userDrawn="1"/>
          </p:nvSpPr>
          <p:spPr bwMode="auto">
            <a:xfrm>
              <a:off x="-5864" y="334"/>
              <a:ext cx="5760" cy="1813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27" name="AutoShape 632" hidden="1"/>
            <p:cNvSpPr>
              <a:spLocks noChangeArrowheads="1"/>
            </p:cNvSpPr>
            <p:nvPr userDrawn="1"/>
          </p:nvSpPr>
          <p:spPr bwMode="auto">
            <a:xfrm rot="5400000">
              <a:off x="-274" y="1979"/>
              <a:ext cx="170" cy="170"/>
            </a:xfrm>
            <a:prstGeom prst="rtTriangle">
              <a:avLst/>
            </a:prstGeom>
            <a:solidFill>
              <a:srgbClr val="7F12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AutoShape 633" hidden="1"/>
            <p:cNvSpPr>
              <a:spLocks noChangeArrowheads="1"/>
            </p:cNvSpPr>
            <p:nvPr userDrawn="1"/>
          </p:nvSpPr>
          <p:spPr bwMode="auto">
            <a:xfrm rot="16200000">
              <a:off x="-274" y="1979"/>
              <a:ext cx="170" cy="17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Rectangle 634" hidden="1"/>
            <p:cNvSpPr>
              <a:spLocks noChangeArrowheads="1"/>
            </p:cNvSpPr>
            <p:nvPr userDrawn="1"/>
          </p:nvSpPr>
          <p:spPr bwMode="auto">
            <a:xfrm>
              <a:off x="-5864" y="168"/>
              <a:ext cx="5760" cy="1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Rectangle 635" hidden="1"/>
            <p:cNvSpPr>
              <a:spLocks noChangeArrowheads="1"/>
            </p:cNvSpPr>
            <p:nvPr userDrawn="1"/>
          </p:nvSpPr>
          <p:spPr bwMode="auto">
            <a:xfrm>
              <a:off x="-5864" y="0"/>
              <a:ext cx="5760" cy="17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31" name="Group 641"/>
          <p:cNvGrpSpPr>
            <a:grpSpLocks/>
          </p:cNvGrpSpPr>
          <p:nvPr userDrawn="1"/>
        </p:nvGrpSpPr>
        <p:grpSpPr bwMode="auto">
          <a:xfrm>
            <a:off x="0" y="0"/>
            <a:ext cx="9144000" cy="3411538"/>
            <a:chOff x="0" y="0"/>
            <a:chExt cx="5760" cy="2149"/>
          </a:xfrm>
        </p:grpSpPr>
        <p:sp>
          <p:nvSpPr>
            <p:cNvPr id="32" name="Rectangle 607"/>
            <p:cNvSpPr>
              <a:spLocks noChangeArrowheads="1"/>
            </p:cNvSpPr>
            <p:nvPr userDrawn="1"/>
          </p:nvSpPr>
          <p:spPr bwMode="auto">
            <a:xfrm>
              <a:off x="0" y="0"/>
              <a:ext cx="5760" cy="18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/>
            </a:p>
          </p:txBody>
        </p:sp>
        <p:sp>
          <p:nvSpPr>
            <p:cNvPr id="33" name="AutoShape 603"/>
            <p:cNvSpPr>
              <a:spLocks noChangeArrowheads="1"/>
            </p:cNvSpPr>
            <p:nvPr userDrawn="1"/>
          </p:nvSpPr>
          <p:spPr bwMode="auto">
            <a:xfrm rot="5400000">
              <a:off x="5590" y="1645"/>
              <a:ext cx="170" cy="170"/>
            </a:xfrm>
            <a:prstGeom prst="rtTriangle">
              <a:avLst/>
            </a:prstGeom>
            <a:solidFill>
              <a:srgbClr val="3C88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AutoShape 608"/>
            <p:cNvSpPr>
              <a:spLocks noChangeArrowheads="1"/>
            </p:cNvSpPr>
            <p:nvPr userDrawn="1"/>
          </p:nvSpPr>
          <p:spPr bwMode="auto">
            <a:xfrm rot="16200000">
              <a:off x="5590" y="1645"/>
              <a:ext cx="170" cy="17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Rectangle 566"/>
            <p:cNvSpPr>
              <a:spLocks noChangeArrowheads="1"/>
            </p:cNvSpPr>
            <p:nvPr userDrawn="1"/>
          </p:nvSpPr>
          <p:spPr bwMode="auto">
            <a:xfrm>
              <a:off x="0" y="1979"/>
              <a:ext cx="5760" cy="170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" name="Rectangle 567"/>
            <p:cNvSpPr>
              <a:spLocks noChangeArrowheads="1"/>
            </p:cNvSpPr>
            <p:nvPr userDrawn="1"/>
          </p:nvSpPr>
          <p:spPr bwMode="auto">
            <a:xfrm>
              <a:off x="0" y="1811"/>
              <a:ext cx="5760" cy="1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365760" y="722376"/>
            <a:ext cx="8397875" cy="723275"/>
          </a:xfrm>
        </p:spPr>
        <p:txBody>
          <a:bodyPr/>
          <a:lstStyle>
            <a:lvl1pPr>
              <a:defRPr sz="470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Bedankt voor uw aandacht</a:t>
            </a:r>
            <a:endParaRPr lang="nl-NL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77825" y="3886200"/>
            <a:ext cx="4194176" cy="323165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Naam/Namen</a:t>
            </a:r>
            <a:endParaRPr lang="nl-NL" dirty="0"/>
          </a:p>
        </p:txBody>
      </p:sp>
      <p:pic>
        <p:nvPicPr>
          <p:cNvPr id="13" name="Picture 640" descr="bf_logo_property development rgb" hidden="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5" t="14999" r="6476" b="17592"/>
          <a:stretch>
            <a:fillRect/>
          </a:stretch>
        </p:blipFill>
        <p:spPr bwMode="auto">
          <a:xfrm>
            <a:off x="325438" y="5916613"/>
            <a:ext cx="2711450" cy="57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01" descr="bf_ontwikkeling+payoff_RGB_ZWAR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" b="8057"/>
          <a:stretch>
            <a:fillRect/>
          </a:stretch>
        </p:blipFill>
        <p:spPr bwMode="auto">
          <a:xfrm>
            <a:off x="0" y="5408613"/>
            <a:ext cx="8101013" cy="1449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262563" y="3886200"/>
            <a:ext cx="3513137" cy="323165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E-</a:t>
            </a:r>
            <a:r>
              <a:rPr lang="en-US" dirty="0" err="1" smtClean="0"/>
              <a:t>mailadres</a:t>
            </a:r>
            <a:r>
              <a:rPr lang="en-US" dirty="0" smtClean="0"/>
              <a:t>(</a:t>
            </a:r>
            <a:r>
              <a:rPr lang="en-US" dirty="0" err="1" smtClean="0"/>
              <a:t>sen</a:t>
            </a:r>
            <a:r>
              <a:rPr lang="en-US" dirty="0" smtClean="0"/>
              <a:t>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916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2993562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2" y="207963"/>
            <a:ext cx="8548687" cy="461665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800" b="1" i="0" cap="small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NL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Tekstvak 3"/>
          <p:cNvSpPr txBox="1"/>
          <p:nvPr userDrawn="1"/>
        </p:nvSpPr>
        <p:spPr>
          <a:xfrm>
            <a:off x="6465100" y="344615"/>
            <a:ext cx="0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2224394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mtClean="0"/>
              <a:t>Click to edit Master text styles</a:t>
            </a:r>
          </a:p>
          <a:p>
            <a:pPr lvl="1"/>
            <a:r>
              <a:rPr lang="nl-NL" smtClean="0"/>
              <a:t>Second level</a:t>
            </a:r>
          </a:p>
          <a:p>
            <a:pPr lvl="2"/>
            <a:r>
              <a:rPr lang="nl-NL" smtClean="0"/>
              <a:t>Third level</a:t>
            </a:r>
          </a:p>
          <a:p>
            <a:pPr lvl="3"/>
            <a:r>
              <a:rPr lang="nl-NL" smtClean="0"/>
              <a:t>Fourth level</a:t>
            </a:r>
          </a:p>
          <a:p>
            <a:pPr lvl="4"/>
            <a:r>
              <a:rPr lang="nl-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28FA541-97C6-7041-8BC0-BE567EEC9D5D}" type="datetimeFigureOut">
              <a:rPr lang="en-US" smtClean="0"/>
              <a:t>5/24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881D6D-30E4-9D4E-A2D9-3E40A7CA9A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7419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Documents and Settings\dlodder\Bureaublad\POWERPOINT PRESENTATIE-NW-STIJL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sp>
        <p:nvSpPr>
          <p:cNvPr id="7" name="Tekstvak 6"/>
          <p:cNvSpPr txBox="1"/>
          <p:nvPr userDrawn="1"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C:\Documents and Settings\dlodder\Bureaublad\POWERPOINT PRESENTATIE-NW-STIJL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70988" cy="6870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279126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Documents and Settings\dlodder\Bureaublad\POWERPOINT PRESENTATIE-NW-STIJL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sp>
        <p:nvSpPr>
          <p:cNvPr id="7" name="Tekstvak 6"/>
          <p:cNvSpPr txBox="1"/>
          <p:nvPr userDrawn="1"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C:\Documents and Settings\dlodder\Bureaublad\POWERPOINT PRESENTATIE-NW-STIJL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70988" cy="6870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653814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Documents and Settings\dlodder\Bureaublad\POWERPOINT PRESENTATIE-NW-STIJL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sp>
        <p:nvSpPr>
          <p:cNvPr id="7" name="Tekstvak 6"/>
          <p:cNvSpPr txBox="1"/>
          <p:nvPr userDrawn="1"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C:\Documents and Settings\dlodder\Bureaublad\POWERPOINT PRESENTATIE-NW-STIJL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70988" cy="6870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61031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Documents and Settings\dlodder\Bureaublad\POWERPOINT PRESENTATIE-NW-STIJL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sp>
        <p:nvSpPr>
          <p:cNvPr id="7" name="Tekstvak 6"/>
          <p:cNvSpPr txBox="1"/>
          <p:nvPr userDrawn="1"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C:\Documents and Settings\dlodder\Bureaublad\POWERPOINT PRESENTATIE-NW-STIJL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70988" cy="6870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39046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Documents and Settings\dlodder\Bureaublad\POWERPOINT PRESENTATIE-NW-STIJL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sp>
        <p:nvSpPr>
          <p:cNvPr id="7" name="Tekstvak 6"/>
          <p:cNvSpPr txBox="1"/>
          <p:nvPr userDrawn="1"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C:\Documents and Settings\dlodder\Bureaublad\POWERPOINT PRESENTATIE-NW-STIJL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70988" cy="6870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615496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:\Documents and Settings\dlodder\Bureaublad\POWERPOINT PRESENTATIE-NW-STIJL0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sp>
        <p:nvSpPr>
          <p:cNvPr id="7" name="Tekstvak 6"/>
          <p:cNvSpPr txBox="1"/>
          <p:nvPr userDrawn="1"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2" descr="C:\Documents and Settings\dlodder\Bureaublad\POWERPOINT PRESENTATIE-NW-STIJL01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70988" cy="6870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82856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  <p:custDataLst>
              <p:tags r:id="rId1"/>
            </p:custDataLst>
          </p:nvPr>
        </p:nvSpPr>
        <p:spPr>
          <a:xfrm>
            <a:off x="366713" y="207963"/>
            <a:ext cx="8409600" cy="461665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  <p:custDataLst>
              <p:tags r:id="rId2"/>
            </p:custDataLst>
          </p:nvPr>
        </p:nvSpPr>
        <p:spPr>
          <a:xfrm>
            <a:off x="366713" y="1176338"/>
            <a:ext cx="8409600" cy="48260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85232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4" hasCustomPrompt="1"/>
            <p:custDataLst>
              <p:tags r:id="rId1"/>
            </p:custDataLst>
          </p:nvPr>
        </p:nvSpPr>
        <p:spPr>
          <a:xfrm>
            <a:off x="1416424" y="1290879"/>
            <a:ext cx="6296400" cy="426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smtClean="0"/>
              <a:t>Click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6713" y="207963"/>
            <a:ext cx="8409600" cy="461665"/>
          </a:xfrm>
        </p:spPr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03219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Inhou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43900" y="1646238"/>
            <a:ext cx="4031800" cy="4356100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  <p:custDataLst>
              <p:tags r:id="rId4"/>
            </p:custDataLst>
          </p:nvPr>
        </p:nvSpPr>
        <p:spPr>
          <a:xfrm>
            <a:off x="377825" y="1646238"/>
            <a:ext cx="4031800" cy="4356100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377825" y="1194884"/>
            <a:ext cx="40320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4743700" y="1194884"/>
            <a:ext cx="40320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48230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Inhou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43900" y="1646238"/>
            <a:ext cx="4031800" cy="435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/>
            <p:custDataLst>
              <p:tags r:id="rId4"/>
            </p:custDataLst>
          </p:nvPr>
        </p:nvSpPr>
        <p:spPr>
          <a:xfrm>
            <a:off x="377825" y="1646238"/>
            <a:ext cx="4031800" cy="435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377825" y="1520350"/>
            <a:ext cx="4032000" cy="0"/>
          </a:xfrm>
          <a:custGeom>
            <a:avLst/>
            <a:gdLst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0 w 3111500"/>
              <a:gd name="connsiteY4" fmla="*/ 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91440 w 3111500"/>
              <a:gd name="connsiteY4" fmla="*/ 9144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0" fmla="*/ 3111500 w 3111500"/>
              <a:gd name="connsiteY0" fmla="*/ 0 h 444500"/>
              <a:gd name="connsiteX1" fmla="*/ 3111500 w 3111500"/>
              <a:gd name="connsiteY1" fmla="*/ 444500 h 444500"/>
              <a:gd name="connsiteX2" fmla="*/ 0 w 3111500"/>
              <a:gd name="connsiteY2" fmla="*/ 444500 h 444500"/>
              <a:gd name="connsiteX0" fmla="*/ 3111500 w 3111500"/>
              <a:gd name="connsiteY0" fmla="*/ 0 h 0"/>
              <a:gd name="connsiteX1" fmla="*/ 0 w 3111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11500">
                <a:moveTo>
                  <a:pt x="3111500" y="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144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en-GB" b="1"/>
            </a:lvl1pPr>
          </a:lstStyle>
          <a:p>
            <a:pPr marL="0" lvl="0" indent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4743700" y="1520350"/>
            <a:ext cx="4032000" cy="0"/>
          </a:xfrm>
          <a:custGeom>
            <a:avLst/>
            <a:gdLst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0 w 3111500"/>
              <a:gd name="connsiteY4" fmla="*/ 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91440 w 3111500"/>
              <a:gd name="connsiteY4" fmla="*/ 9144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0" fmla="*/ 3111500 w 3111500"/>
              <a:gd name="connsiteY0" fmla="*/ 0 h 444500"/>
              <a:gd name="connsiteX1" fmla="*/ 3111500 w 3111500"/>
              <a:gd name="connsiteY1" fmla="*/ 444500 h 444500"/>
              <a:gd name="connsiteX2" fmla="*/ 0 w 3111500"/>
              <a:gd name="connsiteY2" fmla="*/ 444500 h 444500"/>
              <a:gd name="connsiteX0" fmla="*/ 3111500 w 3111500"/>
              <a:gd name="connsiteY0" fmla="*/ 0 h 0"/>
              <a:gd name="connsiteX1" fmla="*/ 0 w 3111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11500">
                <a:moveTo>
                  <a:pt x="3111500" y="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144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en-GB" b="1"/>
            </a:lvl1pPr>
          </a:lstStyle>
          <a:p>
            <a:pPr marL="0" lvl="0" indent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03415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inhou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  <p:custDataLst>
              <p:tags r:id="rId3"/>
            </p:custDataLst>
          </p:nvPr>
        </p:nvSpPr>
        <p:spPr>
          <a:xfrm>
            <a:off x="6090100" y="1646238"/>
            <a:ext cx="2685600" cy="4356100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21"/>
            <p:custDataLst>
              <p:tags r:id="rId4"/>
            </p:custDataLst>
          </p:nvPr>
        </p:nvSpPr>
        <p:spPr>
          <a:xfrm>
            <a:off x="3233963" y="1646238"/>
            <a:ext cx="2685600" cy="4356100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22"/>
            <p:custDataLst>
              <p:tags r:id="rId5"/>
            </p:custDataLst>
          </p:nvPr>
        </p:nvSpPr>
        <p:spPr>
          <a:xfrm>
            <a:off x="377825" y="1646238"/>
            <a:ext cx="2685600" cy="4356100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377825" y="1194884"/>
            <a:ext cx="26856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3233963" y="1194884"/>
            <a:ext cx="26856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5" hasCustomPrompt="1"/>
            <p:custDataLst>
              <p:tags r:id="rId8"/>
            </p:custDataLst>
          </p:nvPr>
        </p:nvSpPr>
        <p:spPr>
          <a:xfrm>
            <a:off x="6090100" y="1194884"/>
            <a:ext cx="26856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35721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inhou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14" name="Content Placeholder 3"/>
          <p:cNvSpPr>
            <a:spLocks noGrp="1"/>
          </p:cNvSpPr>
          <p:nvPr>
            <p:ph sz="quarter" idx="20"/>
            <p:custDataLst>
              <p:tags r:id="rId3"/>
            </p:custDataLst>
          </p:nvPr>
        </p:nvSpPr>
        <p:spPr>
          <a:xfrm>
            <a:off x="6090100" y="1646238"/>
            <a:ext cx="2685600" cy="435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21"/>
            <p:custDataLst>
              <p:tags r:id="rId4"/>
            </p:custDataLst>
          </p:nvPr>
        </p:nvSpPr>
        <p:spPr>
          <a:xfrm>
            <a:off x="3233963" y="1646238"/>
            <a:ext cx="2685600" cy="435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  <p:custDataLst>
              <p:tags r:id="rId5"/>
            </p:custDataLst>
          </p:nvPr>
        </p:nvSpPr>
        <p:spPr>
          <a:xfrm>
            <a:off x="377825" y="1646238"/>
            <a:ext cx="2685600" cy="4356100"/>
          </a:xfr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377825" y="1520350"/>
            <a:ext cx="2685600" cy="0"/>
          </a:xfrm>
          <a:custGeom>
            <a:avLst/>
            <a:gdLst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0 w 3111500"/>
              <a:gd name="connsiteY4" fmla="*/ 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91440 w 3111500"/>
              <a:gd name="connsiteY4" fmla="*/ 9144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0" fmla="*/ 3111500 w 3111500"/>
              <a:gd name="connsiteY0" fmla="*/ 0 h 444500"/>
              <a:gd name="connsiteX1" fmla="*/ 3111500 w 3111500"/>
              <a:gd name="connsiteY1" fmla="*/ 444500 h 444500"/>
              <a:gd name="connsiteX2" fmla="*/ 0 w 3111500"/>
              <a:gd name="connsiteY2" fmla="*/ 444500 h 444500"/>
              <a:gd name="connsiteX0" fmla="*/ 3111500 w 3111500"/>
              <a:gd name="connsiteY0" fmla="*/ 0 h 0"/>
              <a:gd name="connsiteX1" fmla="*/ 0 w 3111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11500">
                <a:moveTo>
                  <a:pt x="3111500" y="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144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en-GB" b="1"/>
            </a:lvl1pPr>
          </a:lstStyle>
          <a:p>
            <a:pPr marL="0" lvl="0" indent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3233963" y="1520350"/>
            <a:ext cx="2685600" cy="0"/>
          </a:xfrm>
          <a:custGeom>
            <a:avLst/>
            <a:gdLst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0 w 3111500"/>
              <a:gd name="connsiteY4" fmla="*/ 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91440 w 3111500"/>
              <a:gd name="connsiteY4" fmla="*/ 9144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0" fmla="*/ 3111500 w 3111500"/>
              <a:gd name="connsiteY0" fmla="*/ 0 h 444500"/>
              <a:gd name="connsiteX1" fmla="*/ 3111500 w 3111500"/>
              <a:gd name="connsiteY1" fmla="*/ 444500 h 444500"/>
              <a:gd name="connsiteX2" fmla="*/ 0 w 3111500"/>
              <a:gd name="connsiteY2" fmla="*/ 444500 h 444500"/>
              <a:gd name="connsiteX0" fmla="*/ 3111500 w 3111500"/>
              <a:gd name="connsiteY0" fmla="*/ 0 h 0"/>
              <a:gd name="connsiteX1" fmla="*/ 0 w 3111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11500">
                <a:moveTo>
                  <a:pt x="3111500" y="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144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en-GB" b="1" baseline="0"/>
            </a:lvl1pPr>
          </a:lstStyle>
          <a:p>
            <a:pPr marL="0" lvl="0" indent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5" hasCustomPrompt="1"/>
            <p:custDataLst>
              <p:tags r:id="rId8"/>
            </p:custDataLst>
          </p:nvPr>
        </p:nvSpPr>
        <p:spPr>
          <a:xfrm>
            <a:off x="6090100" y="1520350"/>
            <a:ext cx="2685600" cy="0"/>
          </a:xfrm>
          <a:custGeom>
            <a:avLst/>
            <a:gdLst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0 w 3111500"/>
              <a:gd name="connsiteY4" fmla="*/ 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4" fmla="*/ 91440 w 3111500"/>
              <a:gd name="connsiteY4" fmla="*/ 91440 h 444500"/>
              <a:gd name="connsiteX0" fmla="*/ 0 w 3111500"/>
              <a:gd name="connsiteY0" fmla="*/ 0 h 444500"/>
              <a:gd name="connsiteX1" fmla="*/ 3111500 w 3111500"/>
              <a:gd name="connsiteY1" fmla="*/ 0 h 444500"/>
              <a:gd name="connsiteX2" fmla="*/ 3111500 w 3111500"/>
              <a:gd name="connsiteY2" fmla="*/ 444500 h 444500"/>
              <a:gd name="connsiteX3" fmla="*/ 0 w 3111500"/>
              <a:gd name="connsiteY3" fmla="*/ 444500 h 444500"/>
              <a:gd name="connsiteX0" fmla="*/ 3111500 w 3111500"/>
              <a:gd name="connsiteY0" fmla="*/ 0 h 444500"/>
              <a:gd name="connsiteX1" fmla="*/ 3111500 w 3111500"/>
              <a:gd name="connsiteY1" fmla="*/ 444500 h 444500"/>
              <a:gd name="connsiteX2" fmla="*/ 0 w 3111500"/>
              <a:gd name="connsiteY2" fmla="*/ 444500 h 444500"/>
              <a:gd name="connsiteX0" fmla="*/ 3111500 w 3111500"/>
              <a:gd name="connsiteY0" fmla="*/ 0 h 0"/>
              <a:gd name="connsiteX1" fmla="*/ 0 w 31115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11500">
                <a:moveTo>
                  <a:pt x="3111500" y="0"/>
                </a:moveTo>
                <a:lnTo>
                  <a:pt x="0" y="0"/>
                </a:lnTo>
              </a:path>
            </a:pathLst>
          </a:custGeom>
          <a:noFill/>
          <a:ln w="19050">
            <a:solidFill>
              <a:schemeClr val="accent1"/>
            </a:solidFill>
            <a:prstDash val="soli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0" tIns="0" rIns="0" bIns="14400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266700" indent="-266700">
              <a:buNone/>
              <a:defRPr lang="en-GB" b="1"/>
            </a:lvl1pPr>
          </a:lstStyle>
          <a:p>
            <a:pPr marL="0" lvl="0" indent="0"/>
            <a:r>
              <a:rPr lang="nl-NL" dirty="0" smtClean="0"/>
              <a:t>Click </a:t>
            </a:r>
            <a:r>
              <a:rPr lang="nl-NL" dirty="0" err="1" smtClean="0"/>
              <a:t>to</a:t>
            </a:r>
            <a:r>
              <a:rPr lang="nl-NL" dirty="0" smtClean="0"/>
              <a:t> </a:t>
            </a:r>
            <a:r>
              <a:rPr lang="nl-NL" dirty="0" err="1" smtClean="0"/>
              <a:t>add</a:t>
            </a:r>
            <a:r>
              <a:rPr lang="nl-NL" dirty="0" smtClean="0"/>
              <a:t> </a:t>
            </a:r>
            <a:r>
              <a:rPr lang="nl-NL" dirty="0" err="1" smtClean="0"/>
              <a:t>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73299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smtClean="0"/>
              <a:t>Klik om de stijl te bewerken</a:t>
            </a:r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  <p:custDataLst>
              <p:tags r:id="rId3"/>
            </p:custDataLst>
          </p:nvPr>
        </p:nvSpPr>
        <p:spPr>
          <a:xfrm>
            <a:off x="4743900" y="1646238"/>
            <a:ext cx="4031800" cy="1808162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21" name="Content Placeholder 3"/>
          <p:cNvSpPr>
            <a:spLocks noGrp="1"/>
          </p:cNvSpPr>
          <p:nvPr>
            <p:ph sz="quarter" idx="19"/>
            <p:custDataLst>
              <p:tags r:id="rId4"/>
            </p:custDataLst>
          </p:nvPr>
        </p:nvSpPr>
        <p:spPr>
          <a:xfrm>
            <a:off x="377825" y="1646238"/>
            <a:ext cx="4031800" cy="1808162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377825" y="1174750"/>
            <a:ext cx="4032000" cy="385363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4743700" y="1174750"/>
            <a:ext cx="4032000" cy="385363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  <p:sp>
        <p:nvSpPr>
          <p:cNvPr id="32" name="Content Placeholder 3"/>
          <p:cNvSpPr>
            <a:spLocks noGrp="1"/>
          </p:cNvSpPr>
          <p:nvPr>
            <p:ph sz="quarter" idx="24"/>
            <p:custDataLst>
              <p:tags r:id="rId7"/>
            </p:custDataLst>
          </p:nvPr>
        </p:nvSpPr>
        <p:spPr>
          <a:xfrm>
            <a:off x="4743900" y="4084638"/>
            <a:ext cx="4031800" cy="1808162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33" name="Content Placeholder 3"/>
          <p:cNvSpPr>
            <a:spLocks noGrp="1"/>
          </p:cNvSpPr>
          <p:nvPr>
            <p:ph sz="quarter" idx="25"/>
            <p:custDataLst>
              <p:tags r:id="rId8"/>
            </p:custDataLst>
          </p:nvPr>
        </p:nvSpPr>
        <p:spPr>
          <a:xfrm>
            <a:off x="377825" y="4084638"/>
            <a:ext cx="4031800" cy="1808162"/>
          </a:xfrm>
          <a:ln>
            <a:solidFill>
              <a:schemeClr val="accent4"/>
            </a:solidFill>
          </a:ln>
        </p:spPr>
        <p:txBody>
          <a:bodyPr lIns="36000" tIns="36000" rIns="36000" bIns="3600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NL"/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26" hasCustomPrompt="1"/>
            <p:custDataLst>
              <p:tags r:id="rId9"/>
            </p:custDataLst>
          </p:nvPr>
        </p:nvSpPr>
        <p:spPr>
          <a:xfrm>
            <a:off x="377825" y="3633284"/>
            <a:ext cx="40320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27" hasCustomPrompt="1"/>
            <p:custDataLst>
              <p:tags r:id="rId10"/>
            </p:custDataLst>
          </p:nvPr>
        </p:nvSpPr>
        <p:spPr>
          <a:xfrm>
            <a:off x="4743700" y="3633284"/>
            <a:ext cx="4032000" cy="365229"/>
          </a:xfrm>
          <a:solidFill>
            <a:schemeClr val="accent1"/>
          </a:solidFill>
          <a:ln>
            <a:solidFill>
              <a:schemeClr val="accent4"/>
            </a:solidFill>
          </a:ln>
        </p:spPr>
        <p:txBody>
          <a:bodyPr lIns="36000" tIns="46800" rIns="36000" bIns="46800" anchor="b" anchorCtr="0">
            <a:spAutoFit/>
          </a:bodyPr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nl-NL" smtClean="0"/>
              <a:t>Click to add tit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952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13" Type="http://schemas.openxmlformats.org/officeDocument/2006/relationships/slideLayout" Target="../slideLayouts/slideLayout13.xml" />
  <Relationship Id="rId18" Type="http://schemas.openxmlformats.org/officeDocument/2006/relationships/slideLayout" Target="../slideLayouts/slideLayout18.xml" />
  <Relationship Id="rId26" Type="http://schemas.openxmlformats.org/officeDocument/2006/relationships/slideLayout" Target="../slideLayouts/slideLayout26.xml" />
  <Relationship Id="rId3" Type="http://schemas.openxmlformats.org/officeDocument/2006/relationships/slideLayout" Target="../slideLayouts/slideLayout3.xml" />
  <Relationship Id="rId21" Type="http://schemas.openxmlformats.org/officeDocument/2006/relationships/slideLayout" Target="../slideLayouts/slideLayout21.xml" />
  <Relationship Id="rId7" Type="http://schemas.openxmlformats.org/officeDocument/2006/relationships/slideLayout" Target="../slideLayouts/slideLayout7.xml" />
  <Relationship Id="rId12" Type="http://schemas.openxmlformats.org/officeDocument/2006/relationships/slideLayout" Target="../slideLayouts/slideLayout12.xml" />
  <Relationship Id="rId17" Type="http://schemas.openxmlformats.org/officeDocument/2006/relationships/slideLayout" Target="../slideLayouts/slideLayout17.xml" />
  <Relationship Id="rId25" Type="http://schemas.openxmlformats.org/officeDocument/2006/relationships/slideLayout" Target="../slideLayouts/slideLayout25.xml" />
  <Relationship Id="rId2" Type="http://schemas.openxmlformats.org/officeDocument/2006/relationships/slideLayout" Target="../slideLayouts/slideLayout2.xml" />
  <Relationship Id="rId16" Type="http://schemas.openxmlformats.org/officeDocument/2006/relationships/slideLayout" Target="../slideLayouts/slideLayout16.xml" />
  <Relationship Id="rId20" Type="http://schemas.openxmlformats.org/officeDocument/2006/relationships/slideLayout" Target="../slideLayouts/slideLayout20.xml" />
  <Relationship Id="rId29" Type="http://schemas.openxmlformats.org/officeDocument/2006/relationships/theme" Target="../theme/theme1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slideLayout" Target="../slideLayouts/slideLayout11.xml" />
  <Relationship Id="rId24" Type="http://schemas.openxmlformats.org/officeDocument/2006/relationships/slideLayout" Target="../slideLayouts/slideLayout24.xml" />
  <Relationship Id="rId32" Type="http://schemas.openxmlformats.org/officeDocument/2006/relationships/image" Target="../media/image3.png" />
  <Relationship Id="rId5" Type="http://schemas.openxmlformats.org/officeDocument/2006/relationships/slideLayout" Target="../slideLayouts/slideLayout5.xml" />
  <Relationship Id="rId15" Type="http://schemas.openxmlformats.org/officeDocument/2006/relationships/slideLayout" Target="../slideLayouts/slideLayout15.xml" />
  <Relationship Id="rId23" Type="http://schemas.openxmlformats.org/officeDocument/2006/relationships/slideLayout" Target="../slideLayouts/slideLayout23.xml" />
  <Relationship Id="rId28" Type="http://schemas.openxmlformats.org/officeDocument/2006/relationships/slideLayout" Target="../slideLayouts/slideLayout28.xml" />
  <Relationship Id="rId10" Type="http://schemas.openxmlformats.org/officeDocument/2006/relationships/slideLayout" Target="../slideLayouts/slideLayout10.xml" />
  <Relationship Id="rId19" Type="http://schemas.openxmlformats.org/officeDocument/2006/relationships/slideLayout" Target="../slideLayouts/slideLayout19.xml" />
  <Relationship Id="rId31" Type="http://schemas.openxmlformats.org/officeDocument/2006/relationships/image" Target="../media/image2.png" />
  <Relationship Id="rId4" Type="http://schemas.openxmlformats.org/officeDocument/2006/relationships/slideLayout" Target="../slideLayouts/slideLayout4.xml" />
  <Relationship Id="rId9" Type="http://schemas.openxmlformats.org/officeDocument/2006/relationships/slideLayout" Target="../slideLayouts/slideLayout9.xml" />
  <Relationship Id="rId14" Type="http://schemas.openxmlformats.org/officeDocument/2006/relationships/slideLayout" Target="../slideLayouts/slideLayout14.xml" />
  <Relationship Id="rId22" Type="http://schemas.openxmlformats.org/officeDocument/2006/relationships/slideLayout" Target="../slideLayouts/slideLayout22.xml" />
  <Relationship Id="rId27" Type="http://schemas.openxmlformats.org/officeDocument/2006/relationships/slideLayout" Target="../slideLayouts/slideLayout27.xml" />
  <Relationship Id="rId30" Type="http://schemas.openxmlformats.org/officeDocument/2006/relationships/image" Target="../media/image1.png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6" hidden="1"/>
          <p:cNvSpPr>
            <a:spLocks noChangeArrowheads="1"/>
          </p:cNvSpPr>
          <p:nvPr/>
        </p:nvSpPr>
        <p:spPr bwMode="auto">
          <a:xfrm>
            <a:off x="0" y="6318250"/>
            <a:ext cx="9144000" cy="53975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Rectangle 8"/>
          <p:cNvSpPr>
            <a:spLocks noChangeArrowheads="1"/>
          </p:cNvSpPr>
          <p:nvPr/>
        </p:nvSpPr>
        <p:spPr bwMode="auto">
          <a:xfrm>
            <a:off x="0" y="6318250"/>
            <a:ext cx="9144000" cy="53975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noProof="0"/>
          </a:p>
        </p:txBody>
      </p:sp>
      <p:grpSp>
        <p:nvGrpSpPr>
          <p:cNvPr id="20" name="Group 29"/>
          <p:cNvGrpSpPr>
            <a:grpSpLocks/>
          </p:cNvGrpSpPr>
          <p:nvPr/>
        </p:nvGrpSpPr>
        <p:grpSpPr bwMode="auto">
          <a:xfrm>
            <a:off x="366713" y="6397625"/>
            <a:ext cx="3624262" cy="381000"/>
            <a:chOff x="231" y="4030"/>
            <a:chExt cx="2283" cy="240"/>
          </a:xfrm>
        </p:grpSpPr>
        <p:pic>
          <p:nvPicPr>
            <p:cNvPr id="21" name="Picture 19" descr="bf_ontwikkeling+payoff_WIT"/>
            <p:cNvPicPr>
              <a:picLocks noChangeAspect="1" noChangeArrowheads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131" t="25417" r="-925" b="-5000"/>
            <a:stretch>
              <a:fillRect/>
            </a:stretch>
          </p:blipFill>
          <p:spPr bwMode="auto">
            <a:xfrm>
              <a:off x="1310" y="4146"/>
              <a:ext cx="1204" cy="1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0" descr="bf_ontwikkeling+payoff_WIT"/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58"/>
            <a:stretch>
              <a:fillRect/>
            </a:stretch>
          </p:blipFill>
          <p:spPr bwMode="auto">
            <a:xfrm>
              <a:off x="231" y="4030"/>
              <a:ext cx="966" cy="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2" hidden="1"/>
          <p:cNvSpPr>
            <a:spLocks noChangeArrowheads="1"/>
          </p:cNvSpPr>
          <p:nvPr/>
        </p:nvSpPr>
        <p:spPr bwMode="auto">
          <a:xfrm>
            <a:off x="0" y="6318250"/>
            <a:ext cx="9144000" cy="539750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grpSp>
        <p:nvGrpSpPr>
          <p:cNvPr id="24" name="Group 23" hidden="1"/>
          <p:cNvGrpSpPr>
            <a:grpSpLocks/>
          </p:cNvGrpSpPr>
          <p:nvPr/>
        </p:nvGrpSpPr>
        <p:grpSpPr bwMode="auto">
          <a:xfrm>
            <a:off x="366713" y="6397625"/>
            <a:ext cx="3624262" cy="381000"/>
            <a:chOff x="231" y="4030"/>
            <a:chExt cx="2283" cy="240"/>
          </a:xfrm>
        </p:grpSpPr>
        <p:pic>
          <p:nvPicPr>
            <p:cNvPr id="25" name="Picture 24" descr="bf_ontwikkeling+payoff_WIT" hidden="1"/>
            <p:cNvPicPr>
              <a:picLocks noChangeAspect="1" noChangeArrowheads="1"/>
            </p:cNvPicPr>
            <p:nvPr userDrawn="1"/>
          </p:nvPicPr>
          <p:blipFill>
            <a:blip r:embed="rId30" cstate="print">
              <a:lum bright="-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131" t="25417" r="-925" b="-5000"/>
            <a:stretch>
              <a:fillRect/>
            </a:stretch>
          </p:blipFill>
          <p:spPr bwMode="auto">
            <a:xfrm>
              <a:off x="1310" y="4146"/>
              <a:ext cx="1204" cy="1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5" descr="bf_ontwikkeling+payoff_WIT" hidden="1"/>
            <p:cNvPicPr>
              <a:picLocks noChangeAspect="1" noChangeArrowheads="1"/>
            </p:cNvPicPr>
            <p:nvPr userDrawn="1"/>
          </p:nvPicPr>
          <p:blipFill>
            <a:blip r:embed="rId31" cstate="print">
              <a:lum bright="-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58"/>
            <a:stretch>
              <a:fillRect/>
            </a:stretch>
          </p:blipFill>
          <p:spPr bwMode="auto">
            <a:xfrm>
              <a:off x="231" y="4030"/>
              <a:ext cx="966" cy="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7" name="Picture 27" descr="bf_logo_pd_WIT" hidden="1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3" y="6392863"/>
            <a:ext cx="1814512" cy="3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8" descr="bf_logo_pd_WIT" hidden="1"/>
          <p:cNvPicPr>
            <a:picLocks noChangeAspect="1" noChangeArrowheads="1"/>
          </p:cNvPicPr>
          <p:nvPr/>
        </p:nvPicPr>
        <p:blipFill>
          <a:blip r:embed="rId32" cstate="print">
            <a:lum bright="-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25" y="6392863"/>
            <a:ext cx="1814513" cy="382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6713" y="207963"/>
            <a:ext cx="8409600" cy="46166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smtClean="0"/>
              <a:t>Klik om de stijl te bewer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6713" y="1176338"/>
            <a:ext cx="8409600" cy="482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smtClean="0"/>
              <a:t>Klik om de modelstijlen te bewerken</a:t>
            </a:r>
          </a:p>
          <a:p>
            <a:pPr lvl="1"/>
            <a:r>
              <a:rPr lang="nl-NL" noProof="0" smtClean="0"/>
              <a:t>Tweede niveau</a:t>
            </a:r>
          </a:p>
          <a:p>
            <a:pPr lvl="2"/>
            <a:r>
              <a:rPr lang="nl-NL" noProof="0" smtClean="0"/>
              <a:t>Derde niveau</a:t>
            </a:r>
          </a:p>
          <a:p>
            <a:pPr lvl="3"/>
            <a:r>
              <a:rPr lang="nl-NL" noProof="0" smtClean="0"/>
              <a:t>Vierde niveau</a:t>
            </a:r>
          </a:p>
          <a:p>
            <a:pPr lvl="4"/>
            <a:r>
              <a:rPr lang="nl-NL" noProof="0" smtClean="0"/>
              <a:t>Vijfde niveau</a:t>
            </a:r>
            <a:endParaRPr lang="nl-NL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64138" y="6609348"/>
            <a:ext cx="2895600" cy="169277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Naam presentatie, Datum</a:t>
            </a:r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5767" y="6609348"/>
            <a:ext cx="171521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8DA1EC87-F007-413E-9577-D1D88117C3DE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9795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6" r:id="rId2"/>
    <p:sldLayoutId id="2147483650" r:id="rId3"/>
    <p:sldLayoutId id="2147483683" r:id="rId4"/>
    <p:sldLayoutId id="2147483653" r:id="rId5"/>
    <p:sldLayoutId id="2147483659" r:id="rId6"/>
    <p:sldLayoutId id="2147483657" r:id="rId7"/>
    <p:sldLayoutId id="2147483660" r:id="rId8"/>
    <p:sldLayoutId id="2147483658" r:id="rId9"/>
    <p:sldLayoutId id="2147483654" r:id="rId10"/>
    <p:sldLayoutId id="2147483655" r:id="rId11"/>
    <p:sldLayoutId id="2147483685" r:id="rId12"/>
    <p:sldLayoutId id="2147483684" r:id="rId13"/>
    <p:sldLayoutId id="2147483694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5" r:id="rId2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41338" indent="-274638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08038" indent="-2667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2667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67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5.png" />
  <Relationship Id="rId2" Type="http://schemas.openxmlformats.org/officeDocument/2006/relationships/notesSlide" Target="../notesSlides/notesSlide1.xml" />
  <Relationship Id="rId1" Type="http://schemas.openxmlformats.org/officeDocument/2006/relationships/slideLayout" Target="../slideLayouts/slideLayout1.xml" />
  <Relationship Id="rId4" Type="http://schemas.openxmlformats.org/officeDocument/2006/relationships/image" Target="../media/image16.png" />
</Relationships>
</file>

<file path=ppt/slides/_rels/slide1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4.JPG" />
  <Relationship Id="rId2" Type="http://schemas.openxmlformats.org/officeDocument/2006/relationships/notesSlide" Target="../notesSlides/notesSlide10.xml" />
  <Relationship Id="rId1" Type="http://schemas.openxmlformats.org/officeDocument/2006/relationships/slideLayout" Target="../slideLayouts/slideLayout11.xml" />
  <Relationship Id="rId4" Type="http://schemas.openxmlformats.org/officeDocument/2006/relationships/image" Target="../media/image25.png" />
</Relationships>
</file>

<file path=ppt/slides/_rels/slide1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6.png" />
  <Relationship Id="rId2" Type="http://schemas.openxmlformats.org/officeDocument/2006/relationships/notesSlide" Target="../notesSlides/notesSlide11.xml" />
  <Relationship Id="rId1" Type="http://schemas.openxmlformats.org/officeDocument/2006/relationships/slideLayout" Target="../slideLayouts/slideLayout14.xml" />
  <Relationship Id="rId4" Type="http://schemas.openxmlformats.org/officeDocument/2006/relationships/image" Target="../media/image17.png" />
</Relationships>
</file>

<file path=ppt/slides/_rels/slide1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notesSlide" Target="../notesSlides/notesSlide12.xml" />
  <Relationship Id="rId1" Type="http://schemas.openxmlformats.org/officeDocument/2006/relationships/slideLayout" Target="../slideLayouts/slideLayout11.xml" />
</Relationships>
</file>

<file path=ppt/slides/_rels/slide1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7.JPG" />
  <Relationship Id="rId2" Type="http://schemas.openxmlformats.org/officeDocument/2006/relationships/notesSlide" Target="../notesSlides/notesSlide13.xml" />
  <Relationship Id="rId1" Type="http://schemas.openxmlformats.org/officeDocument/2006/relationships/slideLayout" Target="../slideLayouts/slideLayout11.xml" />
  <Relationship Id="rId6" Type="http://schemas.openxmlformats.org/officeDocument/2006/relationships/image" Target="../media/image17.png" />
  <Relationship Id="rId5" Type="http://schemas.openxmlformats.org/officeDocument/2006/relationships/image" Target="../media/image28.jpeg" />
  <Relationship Id="rId4" Type="http://schemas.openxmlformats.org/officeDocument/2006/relationships/hyperlink" Target="http://thumbs.dreamstime.com/z/jonge-vrouw-groene-baret-15781959.jpg" TargetMode="External" />
</Relationships>
</file>

<file path=ppt/slides/_rels/slide1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9.jpeg" />
  <Relationship Id="rId2" Type="http://schemas.openxmlformats.org/officeDocument/2006/relationships/notesSlide" Target="../notesSlides/notesSlide14.xml" />
  <Relationship Id="rId1" Type="http://schemas.openxmlformats.org/officeDocument/2006/relationships/slideLayout" Target="../slideLayouts/slideLayout18.xml" />
</Relationships>
</file>

<file path=ppt/slides/_rels/slide1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0.png" />
  <Relationship Id="rId2" Type="http://schemas.openxmlformats.org/officeDocument/2006/relationships/notesSlide" Target="../notesSlides/notesSlide15.xml" />
  <Relationship Id="rId1" Type="http://schemas.openxmlformats.org/officeDocument/2006/relationships/slideLayout" Target="../slideLayouts/slideLayout19.xml" />
  <Relationship Id="rId4" Type="http://schemas.openxmlformats.org/officeDocument/2006/relationships/image" Target="../media/image17.png" />
</Relationships>
</file>

<file path=ppt/slides/_rels/slide1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1.png" />
  <Relationship Id="rId2" Type="http://schemas.openxmlformats.org/officeDocument/2006/relationships/notesSlide" Target="../notesSlides/notesSlide16.xml" />
  <Relationship Id="rId1" Type="http://schemas.openxmlformats.org/officeDocument/2006/relationships/slideLayout" Target="../slideLayouts/slideLayout20.xml" />
  <Relationship Id="rId4" Type="http://schemas.openxmlformats.org/officeDocument/2006/relationships/image" Target="../media/image17.png" />
</Relationships>
</file>

<file path=ppt/slides/_rels/slide1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2.jpeg" />
  <Relationship Id="rId2" Type="http://schemas.openxmlformats.org/officeDocument/2006/relationships/notesSlide" Target="../notesSlides/notesSlide17.xml" />
  <Relationship Id="rId1" Type="http://schemas.openxmlformats.org/officeDocument/2006/relationships/slideLayout" Target="../slideLayouts/slideLayout11.xml" />
  <Relationship Id="rId4" Type="http://schemas.openxmlformats.org/officeDocument/2006/relationships/image" Target="../media/image25.png" />
</Relationships>
</file>

<file path=ppt/slides/_rels/slide1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3.jpeg" />
  <Relationship Id="rId2" Type="http://schemas.openxmlformats.org/officeDocument/2006/relationships/notesSlide" Target="../notesSlides/notesSlide18.xml" />
  <Relationship Id="rId1" Type="http://schemas.openxmlformats.org/officeDocument/2006/relationships/slideLayout" Target="../slideLayouts/slideLayout11.xml" />
  <Relationship Id="rId4" Type="http://schemas.openxmlformats.org/officeDocument/2006/relationships/image" Target="../media/image25.png" />
</Relationships>
</file>

<file path=ppt/slides/_rels/slide1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5.png" />
  <Relationship Id="rId2" Type="http://schemas.openxmlformats.org/officeDocument/2006/relationships/notesSlide" Target="../notesSlides/notesSlide19.xml" />
  <Relationship Id="rId1" Type="http://schemas.openxmlformats.org/officeDocument/2006/relationships/slideLayout" Target="../slideLayouts/slideLayout11.xml" />
  <Relationship Id="rId6" Type="http://schemas.openxmlformats.org/officeDocument/2006/relationships/image" Target="../media/image35.jpeg" />
  <Relationship Id="rId5" Type="http://schemas.openxmlformats.org/officeDocument/2006/relationships/hyperlink" Target="http://thumbs.dreamstime.com/z/jonge-vrouw-groene-baret-15781959.jpg" TargetMode="External" />
  <Relationship Id="rId4" Type="http://schemas.openxmlformats.org/officeDocument/2006/relationships/image" Target="../media/image34.jpeg" />
</Relationships>
</file>

<file path=ppt/slides/_rels/slide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notesSlide" Target="../notesSlides/notesSlide2.xml" />
  <Relationship Id="rId1" Type="http://schemas.openxmlformats.org/officeDocument/2006/relationships/slideLayout" Target="../slideLayouts/slideLayout3.xml" />
  <Relationship Id="rId4" Type="http://schemas.openxmlformats.org/officeDocument/2006/relationships/image" Target="../media/image16.png" />
</Relationships>
</file>

<file path=ppt/slides/_rels/slide2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5.png" />
  <Relationship Id="rId2" Type="http://schemas.openxmlformats.org/officeDocument/2006/relationships/notesSlide" Target="../notesSlides/notesSlide20.xml" />
  <Relationship Id="rId1" Type="http://schemas.openxmlformats.org/officeDocument/2006/relationships/slideLayout" Target="../slideLayouts/slideLayout3.xml" />
</Relationships>
</file>

<file path=ppt/slides/_rels/slide2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36.emf" />
  <Relationship Id="rId2" Type="http://schemas.openxmlformats.org/officeDocument/2006/relationships/notesSlide" Target="../notesSlides/notesSlide21.xml" />
  <Relationship Id="rId1" Type="http://schemas.openxmlformats.org/officeDocument/2006/relationships/slideLayout" Target="../slideLayouts/slideLayout21.xml" />
  <Relationship Id="rId6" Type="http://schemas.openxmlformats.org/officeDocument/2006/relationships/image" Target="../media/image17.png" />
  <Relationship Id="rId5" Type="http://schemas.openxmlformats.org/officeDocument/2006/relationships/image" Target="../media/image38.emf" />
  <Relationship Id="rId4" Type="http://schemas.openxmlformats.org/officeDocument/2006/relationships/image" Target="../media/image37.emf" />
</Relationships>
</file>

<file path=ppt/slides/_rels/slide2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3.jpeg" />
  <Relationship Id="rId2" Type="http://schemas.openxmlformats.org/officeDocument/2006/relationships/notesSlide" Target="../notesSlides/notesSlide22.xml" />
  <Relationship Id="rId1" Type="http://schemas.openxmlformats.org/officeDocument/2006/relationships/slideLayout" Target="../slideLayouts/slideLayout23.xml" />
  <Relationship Id="rId5" Type="http://schemas.openxmlformats.org/officeDocument/2006/relationships/image" Target="../media/image40.png" />
  <Relationship Id="rId4" Type="http://schemas.openxmlformats.org/officeDocument/2006/relationships/image" Target="../media/image39.gif" />
</Relationships>
</file>

<file path=ppt/slides/_rels/slide2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1.png" />
  <Relationship Id="rId2" Type="http://schemas.openxmlformats.org/officeDocument/2006/relationships/notesSlide" Target="../notesSlides/notesSlide23.xml" />
  <Relationship Id="rId1" Type="http://schemas.openxmlformats.org/officeDocument/2006/relationships/slideLayout" Target="../slideLayouts/slideLayout22.xml" />
</Relationships>
</file>

<file path=ppt/slides/_rels/slide24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24.xml" />
  <Relationship Id="rId1" Type="http://schemas.openxmlformats.org/officeDocument/2006/relationships/slideLayout" Target="../slideLayouts/slideLayout23.xml" />
</Relationships>
</file>

<file path=ppt/slides/_rels/slide2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2.png" />
  <Relationship Id="rId2" Type="http://schemas.openxmlformats.org/officeDocument/2006/relationships/notesSlide" Target="../notesSlides/notesSlide25.xml" />
  <Relationship Id="rId1" Type="http://schemas.openxmlformats.org/officeDocument/2006/relationships/slideLayout" Target="../slideLayouts/slideLayout23.xml" />
</Relationships>
</file>

<file path=ppt/slides/_rels/slide2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1.png" />
  <Relationship Id="rId2" Type="http://schemas.openxmlformats.org/officeDocument/2006/relationships/notesSlide" Target="../notesSlides/notesSlide26.xml" />
  <Relationship Id="rId1" Type="http://schemas.openxmlformats.org/officeDocument/2006/relationships/slideLayout" Target="../slideLayouts/slideLayout22.xml" />
</Relationships>
</file>

<file path=ppt/slides/_rels/slide27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27.xml" />
  <Relationship Id="rId1" Type="http://schemas.openxmlformats.org/officeDocument/2006/relationships/slideLayout" Target="../slideLayouts/slideLayout22.xml" />
</Relationships>
</file>

<file path=ppt/slides/_rels/slide28.xml.rels>&#65279;<?xml version="1.0" encoding="UTF-8" standalone="yes"?>
<Relationships xmlns="http://schemas.openxmlformats.org/package/2006/relationships">
  <Relationship Id="rId8" Type="http://schemas.openxmlformats.org/officeDocument/2006/relationships/image" Target="../media/image47.png" />
  <Relationship Id="rId13" Type="http://schemas.openxmlformats.org/officeDocument/2006/relationships/image" Target="../media/image52.png" />
  <Relationship Id="rId3" Type="http://schemas.openxmlformats.org/officeDocument/2006/relationships/image" Target="../media/image13.jpeg" />
  <Relationship Id="rId7" Type="http://schemas.openxmlformats.org/officeDocument/2006/relationships/image" Target="../media/image46.jpeg" />
  <Relationship Id="rId12" Type="http://schemas.openxmlformats.org/officeDocument/2006/relationships/image" Target="../media/image51.png" />
  <Relationship Id="rId2" Type="http://schemas.openxmlformats.org/officeDocument/2006/relationships/notesSlide" Target="../notesSlides/notesSlide28.xml" />
  <Relationship Id="rId16" Type="http://schemas.openxmlformats.org/officeDocument/2006/relationships/image" Target="../media/image55.jpeg" />
  <Relationship Id="rId1" Type="http://schemas.openxmlformats.org/officeDocument/2006/relationships/slideLayout" Target="../slideLayouts/slideLayout24.xml" />
  <Relationship Id="rId6" Type="http://schemas.openxmlformats.org/officeDocument/2006/relationships/image" Target="../media/image45.png" />
  <Relationship Id="rId11" Type="http://schemas.openxmlformats.org/officeDocument/2006/relationships/image" Target="../media/image50.png" />
  <Relationship Id="rId5" Type="http://schemas.openxmlformats.org/officeDocument/2006/relationships/image" Target="../media/image44.jpeg" />
  <Relationship Id="rId15" Type="http://schemas.openxmlformats.org/officeDocument/2006/relationships/image" Target="../media/image54.png" />
  <Relationship Id="rId10" Type="http://schemas.openxmlformats.org/officeDocument/2006/relationships/image" Target="../media/image49.png" />
  <Relationship Id="rId4" Type="http://schemas.openxmlformats.org/officeDocument/2006/relationships/image" Target="../media/image43.png" />
  <Relationship Id="rId9" Type="http://schemas.openxmlformats.org/officeDocument/2006/relationships/image" Target="../media/image48.png" />
  <Relationship Id="rId14" Type="http://schemas.openxmlformats.org/officeDocument/2006/relationships/image" Target="../media/image53.png" />
</Relationships>
</file>

<file path=ppt/slides/_rels/slide2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6.png" />
  <Relationship Id="rId2" Type="http://schemas.openxmlformats.org/officeDocument/2006/relationships/notesSlide" Target="../notesSlides/notesSlide29.xml" />
  <Relationship Id="rId1" Type="http://schemas.openxmlformats.org/officeDocument/2006/relationships/slideLayout" Target="../slideLayouts/slideLayout25.xml" />
  <Relationship Id="rId6" Type="http://schemas.openxmlformats.org/officeDocument/2006/relationships/image" Target="../media/image59.png" />
  <Relationship Id="rId5" Type="http://schemas.openxmlformats.org/officeDocument/2006/relationships/image" Target="../media/image58.png" />
  <Relationship Id="rId4" Type="http://schemas.openxmlformats.org/officeDocument/2006/relationships/image" Target="../media/image57.png" />
</Relationships>
</file>

<file path=ppt/slides/_rels/slide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8.JPG" />
  <Relationship Id="rId2" Type="http://schemas.openxmlformats.org/officeDocument/2006/relationships/notesSlide" Target="../notesSlides/notesSlide3.xml" />
  <Relationship Id="rId1" Type="http://schemas.openxmlformats.org/officeDocument/2006/relationships/slideLayout" Target="../slideLayouts/slideLayout11.xml" />
  <Relationship Id="rId4" Type="http://schemas.openxmlformats.org/officeDocument/2006/relationships/image" Target="../media/image17.png" />
</Relationships>
</file>

<file path=ppt/slides/_rels/slide30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0.png" />
  <Relationship Id="rId2" Type="http://schemas.openxmlformats.org/officeDocument/2006/relationships/notesSlide" Target="../notesSlides/notesSlide30.xml" />
  <Relationship Id="rId1" Type="http://schemas.openxmlformats.org/officeDocument/2006/relationships/slideLayout" Target="../slideLayouts/slideLayout26.xml" />
</Relationships>
</file>

<file path=ppt/slides/_rels/slide31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1.png" />
  <Relationship Id="rId2" Type="http://schemas.openxmlformats.org/officeDocument/2006/relationships/notesSlide" Target="../notesSlides/notesSlide31.xml" />
  <Relationship Id="rId1" Type="http://schemas.openxmlformats.org/officeDocument/2006/relationships/slideLayout" Target="../slideLayouts/slideLayout27.xml" />
</Relationships>
</file>

<file path=ppt/slides/_rels/slide32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62.png" />
  <Relationship Id="rId2" Type="http://schemas.openxmlformats.org/officeDocument/2006/relationships/notesSlide" Target="../notesSlides/notesSlide32.xml" />
  <Relationship Id="rId1" Type="http://schemas.openxmlformats.org/officeDocument/2006/relationships/slideLayout" Target="../slideLayouts/slideLayout28.xml" />
</Relationships>
</file>

<file path=ppt/slides/_rels/slide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7.png" />
  <Relationship Id="rId2" Type="http://schemas.openxmlformats.org/officeDocument/2006/relationships/notesSlide" Target="../notesSlides/notesSlide4.xml" />
  <Relationship Id="rId1" Type="http://schemas.openxmlformats.org/officeDocument/2006/relationships/slideLayout" Target="../slideLayouts/slideLayout3.xml" />
  <Relationship Id="rId4" Type="http://schemas.openxmlformats.org/officeDocument/2006/relationships/image" Target="../media/image16.png" />
</Relationships>
</file>

<file path=ppt/slides/_rels/slide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19.emf" />
  <Relationship Id="rId2" Type="http://schemas.openxmlformats.org/officeDocument/2006/relationships/notesSlide" Target="../notesSlides/notesSlide5.xml" />
  <Relationship Id="rId1" Type="http://schemas.openxmlformats.org/officeDocument/2006/relationships/slideLayout" Target="../slideLayouts/slideLayout15.xml" />
  <Relationship Id="rId4" Type="http://schemas.openxmlformats.org/officeDocument/2006/relationships/image" Target="../media/image17.png" />
</Relationships>
</file>

<file path=ppt/slides/_rels/slide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0.emf" />
  <Relationship Id="rId2" Type="http://schemas.openxmlformats.org/officeDocument/2006/relationships/notesSlide" Target="../notesSlides/notesSlide6.xml" />
  <Relationship Id="rId1" Type="http://schemas.openxmlformats.org/officeDocument/2006/relationships/slideLayout" Target="../slideLayouts/slideLayout16.xml" />
  <Relationship Id="rId5" Type="http://schemas.openxmlformats.org/officeDocument/2006/relationships/image" Target="../media/image17.png" />
  <Relationship Id="rId4" Type="http://schemas.openxmlformats.org/officeDocument/2006/relationships/image" Target="../media/image21.emf" />
</Relationships>
</file>

<file path=ppt/slides/_rels/slide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2.png" />
  <Relationship Id="rId2" Type="http://schemas.openxmlformats.org/officeDocument/2006/relationships/notesSlide" Target="../notesSlides/notesSlide7.xml" />
  <Relationship Id="rId1" Type="http://schemas.openxmlformats.org/officeDocument/2006/relationships/slideLayout" Target="../slideLayouts/slideLayout17.xml" />
  <Relationship Id="rId4" Type="http://schemas.openxmlformats.org/officeDocument/2006/relationships/image" Target="../media/image17.png" />
</Relationships>
</file>

<file path=ppt/slides/_rels/slide8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3.png" />
  <Relationship Id="rId2" Type="http://schemas.openxmlformats.org/officeDocument/2006/relationships/notesSlide" Target="../notesSlides/notesSlide8.xml" />
  <Relationship Id="rId1" Type="http://schemas.openxmlformats.org/officeDocument/2006/relationships/slideLayout" Target="../slideLayouts/slideLayout3.xml" />
</Relationships>
</file>

<file path=ppt/slides/_rels/slide9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3.png" />
  <Relationship Id="rId2" Type="http://schemas.openxmlformats.org/officeDocument/2006/relationships/notesSlide" Target="../notesSlides/notesSlide9.xml" />
  <Relationship Id="rId1" Type="http://schemas.openxmlformats.org/officeDocument/2006/relationships/slideLayout" Target="../slideLayouts/slideLayout3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423107" y="491556"/>
            <a:ext cx="8397875" cy="2462213"/>
          </a:xfrm>
        </p:spPr>
        <p:txBody>
          <a:bodyPr/>
          <a:lstStyle/>
          <a:p>
            <a:pPr algn="ctr"/>
            <a:r>
              <a:rPr lang="nl-NL" sz="3600" dirty="0" err="1" smtClean="0"/>
              <a:t>Stibbe</a:t>
            </a:r>
            <a:r>
              <a:rPr lang="nl-NL" sz="3600" dirty="0" smtClean="0"/>
              <a:t>-congres</a:t>
            </a:r>
            <a:br>
              <a:rPr lang="nl-NL" sz="3600" dirty="0" smtClean="0"/>
            </a:br>
            <a:r>
              <a:rPr lang="nl-NL" sz="3600"/>
              <a:t/>
            </a:r>
            <a:br>
              <a:rPr lang="nl-NL" sz="3600"/>
            </a:br>
            <a:r>
              <a:rPr lang="nl-NL" sz="2800" smtClean="0"/>
              <a:t>19 </a:t>
            </a:r>
            <a:r>
              <a:rPr lang="nl-NL" sz="2800" dirty="0" smtClean="0"/>
              <a:t>mei 2016</a:t>
            </a:r>
            <a:br>
              <a:rPr lang="nl-NL" sz="2800" dirty="0" smtClean="0"/>
            </a:br>
            <a:r>
              <a:rPr lang="nl-NL" sz="2800" dirty="0" smtClean="0">
                <a:solidFill>
                  <a:schemeClr val="tx1"/>
                </a:solidFill>
              </a:rPr>
              <a:t/>
            </a:r>
            <a:br>
              <a:rPr lang="nl-NL" sz="2800" dirty="0" smtClean="0">
                <a:solidFill>
                  <a:schemeClr val="tx1"/>
                </a:solidFill>
              </a:rPr>
            </a:br>
            <a:r>
              <a:rPr lang="nl-NL" sz="3200" dirty="0" smtClean="0"/>
              <a:t>Gebiedsontwikkeling</a:t>
            </a:r>
            <a:endParaRPr lang="nl-NL" sz="3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3106" y="3689163"/>
            <a:ext cx="8397875" cy="1874359"/>
          </a:xfrm>
        </p:spPr>
        <p:txBody>
          <a:bodyPr/>
          <a:lstStyle/>
          <a:p>
            <a:r>
              <a:rPr lang="nl-NL" sz="1600" b="1" dirty="0">
                <a:solidFill>
                  <a:schemeClr val="bg1"/>
                </a:solidFill>
              </a:rPr>
              <a:t>p</a:t>
            </a:r>
            <a:r>
              <a:rPr lang="nl-NL" sz="1600" b="1" dirty="0" smtClean="0">
                <a:solidFill>
                  <a:schemeClr val="bg1"/>
                </a:solidFill>
              </a:rPr>
              <a:t>rof. mr. Friso de Zeeuw</a:t>
            </a:r>
            <a:endParaRPr lang="nl-NL" sz="1600" b="1" dirty="0">
              <a:solidFill>
                <a:schemeClr val="bg1"/>
              </a:solidFill>
            </a:endParaRPr>
          </a:p>
          <a:p>
            <a:r>
              <a:rPr lang="nl-NL" sz="1600" b="1" dirty="0">
                <a:solidFill>
                  <a:schemeClr val="bg1"/>
                </a:solidFill>
              </a:rPr>
              <a:t>praktijkhoogleraar </a:t>
            </a:r>
            <a:r>
              <a:rPr lang="nl-NL" sz="1600" b="1" dirty="0" smtClean="0">
                <a:solidFill>
                  <a:schemeClr val="bg1"/>
                </a:solidFill>
              </a:rPr>
              <a:t>Gebiedsontwikkeling TU Delft</a:t>
            </a:r>
          </a:p>
          <a:p>
            <a:endParaRPr lang="nl-NL" sz="1600" b="1" dirty="0">
              <a:solidFill>
                <a:schemeClr val="bg1"/>
              </a:solidFill>
            </a:endParaRPr>
          </a:p>
          <a:p>
            <a:r>
              <a:rPr lang="nl-NL" sz="1600" b="1" dirty="0" smtClean="0">
                <a:solidFill>
                  <a:schemeClr val="bg1"/>
                </a:solidFill>
              </a:rPr>
              <a:t>Jop Fackeldey</a:t>
            </a:r>
          </a:p>
          <a:p>
            <a:r>
              <a:rPr lang="nl-NL" sz="1600" b="1" dirty="0">
                <a:solidFill>
                  <a:schemeClr val="bg1"/>
                </a:solidFill>
              </a:rPr>
              <a:t>w</a:t>
            </a:r>
            <a:r>
              <a:rPr lang="nl-NL" sz="1600" b="1" dirty="0" smtClean="0">
                <a:solidFill>
                  <a:schemeClr val="bg1"/>
                </a:solidFill>
              </a:rPr>
              <a:t>ethouder Lelystad, voorzitter fysieke pijler G32</a:t>
            </a:r>
            <a:r>
              <a:rPr lang="nl-NL" sz="1600" b="1" dirty="0">
                <a:solidFill>
                  <a:schemeClr val="bg1"/>
                </a:solidFill>
              </a:rPr>
              <a:t/>
            </a:r>
            <a:br>
              <a:rPr lang="nl-NL" sz="1600" b="1" dirty="0">
                <a:solidFill>
                  <a:schemeClr val="bg1"/>
                </a:solidFill>
              </a:rPr>
            </a:br>
            <a:endParaRPr lang="en-US" sz="1600" b="1" dirty="0">
              <a:solidFill>
                <a:schemeClr val="bg1"/>
              </a:solidFill>
            </a:endParaRPr>
          </a:p>
          <a:p>
            <a:endParaRPr lang="nl-NL" dirty="0"/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6766" y="5717219"/>
            <a:ext cx="1174216" cy="991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Hom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41"/>
          <a:stretch/>
        </p:blipFill>
        <p:spPr bwMode="auto">
          <a:xfrm>
            <a:off x="5731370" y="5717219"/>
            <a:ext cx="1692476" cy="971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2341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9</a:t>
            </a:fld>
            <a:endParaRPr lang="nl-NL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2792"/>
            <a:ext cx="9144000" cy="5292415"/>
          </a:xfrm>
          <a:prstGeom prst="rect">
            <a:avLst/>
          </a:prstGeom>
        </p:spPr>
      </p:pic>
      <p:sp>
        <p:nvSpPr>
          <p:cNvPr id="4" name="Tekstvak 3"/>
          <p:cNvSpPr txBox="1"/>
          <p:nvPr/>
        </p:nvSpPr>
        <p:spPr>
          <a:xfrm>
            <a:off x="4041648" y="146304"/>
            <a:ext cx="52212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 smtClean="0"/>
              <a:t>De vier ingrediënten van gebiedsontwikkeling</a:t>
            </a:r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288" y="5918200"/>
            <a:ext cx="68580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232350" y="6347835"/>
            <a:ext cx="26068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err="1"/>
              <a:t>Praktijkleerstoel</a:t>
            </a:r>
            <a:r>
              <a:rPr lang="en-US" sz="1050" b="1" dirty="0"/>
              <a:t> </a:t>
            </a:r>
            <a:r>
              <a:rPr lang="en-US" sz="1050" b="1" dirty="0" err="1"/>
              <a:t>Gebiedsontwikkeling</a:t>
            </a:r>
            <a:endParaRPr lang="nl-NL" sz="1050" b="1" dirty="0"/>
          </a:p>
        </p:txBody>
      </p:sp>
    </p:spTree>
    <p:extLst>
      <p:ext uri="{BB962C8B-B14F-4D97-AF65-F5344CB8AC3E}">
        <p14:creationId xmlns:p14="http://schemas.microsoft.com/office/powerpoint/2010/main" val="424944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object 6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0"/>
                </a:move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58" name="object 7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1662836"/>
                </a:move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59" name="object 8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0" name="object 9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1" name="object 10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2" name="object 11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3" name="object 12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64" name="object 13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80" name="object 32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7EFBB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81" name="object 33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82" name="object 34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83" name="object 35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84" name="object 36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85" name="object 37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197" name="object 16"/>
          <p:cNvSpPr txBox="1"/>
          <p:nvPr/>
        </p:nvSpPr>
        <p:spPr>
          <a:xfrm>
            <a:off x="174794" y="1915797"/>
            <a:ext cx="990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STAD &amp; REGIO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8" name="object 16"/>
          <p:cNvSpPr txBox="1"/>
          <p:nvPr/>
        </p:nvSpPr>
        <p:spPr>
          <a:xfrm>
            <a:off x="1165394" y="1915797"/>
            <a:ext cx="5334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GEBIED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9" name="object 16"/>
          <p:cNvSpPr txBox="1"/>
          <p:nvPr/>
        </p:nvSpPr>
        <p:spPr>
          <a:xfrm>
            <a:off x="1698794" y="1823464"/>
            <a:ext cx="609600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PROJECT</a:t>
            </a:r>
          </a:p>
          <a:p>
            <a:pPr marL="12700" algn="ctr">
              <a:lnSpc>
                <a:spcPct val="100000"/>
              </a:lnSpc>
            </a:pPr>
            <a:r>
              <a:rPr lang="nl-NL" sz="5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OF</a:t>
            </a:r>
          </a:p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KAVELS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00" name="object 16"/>
          <p:cNvSpPr txBox="1"/>
          <p:nvPr/>
        </p:nvSpPr>
        <p:spPr>
          <a:xfrm>
            <a:off x="2308394" y="1915797"/>
            <a:ext cx="609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REALISATIE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207963"/>
            <a:ext cx="8542338" cy="276999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 smtClean="0">
                <a:cs typeface="Arial"/>
              </a:rPr>
              <a:t>sturingsambitie</a:t>
            </a:r>
            <a:endParaRPr lang="nl-NL" spc="90" dirty="0"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98741" y="6609348"/>
            <a:ext cx="78547" cy="169277"/>
          </a:xfrm>
        </p:spPr>
        <p:txBody>
          <a:bodyPr/>
          <a:lstStyle/>
          <a:p>
            <a:endParaRPr lang="nl-NL" dirty="0"/>
          </a:p>
        </p:txBody>
      </p:sp>
      <p:sp>
        <p:nvSpPr>
          <p:cNvPr id="24" name="Tekstvak 23"/>
          <p:cNvSpPr txBox="1"/>
          <p:nvPr/>
        </p:nvSpPr>
        <p:spPr>
          <a:xfrm>
            <a:off x="3904233" y="528419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endParaRPr lang="nl-NL" sz="1600" b="1" i="1" spc="90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grpSp>
        <p:nvGrpSpPr>
          <p:cNvPr id="40" name="Groeperen 39"/>
          <p:cNvGrpSpPr/>
          <p:nvPr/>
        </p:nvGrpSpPr>
        <p:grpSpPr>
          <a:xfrm>
            <a:off x="3087688" y="1358900"/>
            <a:ext cx="4891223" cy="4830010"/>
            <a:chOff x="4349750" y="1346200"/>
            <a:chExt cx="5633092" cy="5562600"/>
          </a:xfrm>
        </p:grpSpPr>
        <p:pic>
          <p:nvPicPr>
            <p:cNvPr id="41" name="Afbeelding 40" descr="pijlen-cirkel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9750" y="1346200"/>
              <a:ext cx="5587943" cy="5562600"/>
            </a:xfrm>
            <a:prstGeom prst="rect">
              <a:avLst/>
            </a:prstGeom>
            <a:effectLst>
              <a:outerShdw blurRad="127000" dist="190500" dir="2700000" algn="tl" rotWithShape="0">
                <a:srgbClr val="000000">
                  <a:alpha val="10000"/>
                </a:srgbClr>
              </a:outerShdw>
            </a:effectLst>
          </p:spPr>
        </p:pic>
        <p:sp>
          <p:nvSpPr>
            <p:cNvPr id="42" name="object 16"/>
            <p:cNvSpPr txBox="1"/>
            <p:nvPr/>
          </p:nvSpPr>
          <p:spPr>
            <a:xfrm>
              <a:off x="6635750" y="1727200"/>
              <a:ext cx="1324317" cy="13907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064">
                <a:lnSpc>
                  <a:spcPts val="1580"/>
                </a:lnSpc>
                <a:buClr>
                  <a:srgbClr val="231F20"/>
                </a:buClr>
                <a:tabLst>
                  <a:tab pos="113664" algn="l"/>
                </a:tabLst>
              </a:pPr>
              <a:r>
                <a:rPr lang="nl-NL" sz="1300" b="1" spc="100" dirty="0" smtClean="0">
                  <a:solidFill>
                    <a:srgbClr val="231F20"/>
                  </a:solidFill>
                  <a:latin typeface="Arial"/>
                  <a:cs typeface="Arial"/>
                </a:rPr>
                <a:t>Financiën</a:t>
              </a:r>
              <a:endParaRPr lang="nl-NL" sz="1300" spc="100" dirty="0">
                <a:latin typeface="Arial"/>
                <a:cs typeface="Arial"/>
              </a:endParaRPr>
            </a:p>
            <a:p>
              <a:pPr marL="113664" indent="-10160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>
                  <a:solidFill>
                    <a:srgbClr val="231F20"/>
                  </a:solidFill>
                  <a:cs typeface="Arial"/>
                </a:rPr>
                <a:t>g</a:t>
              </a:r>
              <a:r>
                <a:rPr lang="nl-NL" sz="1000" spc="20" dirty="0" smtClean="0">
                  <a:solidFill>
                    <a:srgbClr val="231F20"/>
                  </a:solidFill>
                  <a:cs typeface="Arial"/>
                </a:rPr>
                <a:t>rondexploitatie</a:t>
              </a:r>
              <a:endParaRPr lang="nl-NL" sz="1000" spc="20" dirty="0">
                <a:solidFill>
                  <a:srgbClr val="231F20"/>
                </a:solidFill>
                <a:cs typeface="Arial"/>
              </a:endParaRPr>
            </a:p>
            <a:p>
              <a:pPr marL="113664" indent="-10160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 smtClean="0">
                  <a:solidFill>
                    <a:srgbClr val="231F20"/>
                  </a:solidFill>
                  <a:cs typeface="Arial"/>
                </a:rPr>
                <a:t>kosten </a:t>
              </a:r>
              <a:r>
                <a:rPr lang="nl-NL" sz="1000" spc="20" dirty="0">
                  <a:solidFill>
                    <a:srgbClr val="231F20"/>
                  </a:solidFill>
                  <a:cs typeface="Arial"/>
                </a:rPr>
                <a:t>/ </a:t>
              </a:r>
              <a:r>
                <a:rPr lang="nl-NL" sz="1000" spc="20" dirty="0" smtClean="0">
                  <a:solidFill>
                    <a:srgbClr val="231F20"/>
                  </a:solidFill>
                  <a:cs typeface="Arial"/>
                </a:rPr>
                <a:t>baten</a:t>
              </a:r>
              <a:endParaRPr lang="nl-NL" sz="1000" spc="20" dirty="0">
                <a:solidFill>
                  <a:srgbClr val="231F20"/>
                </a:solidFill>
                <a:cs typeface="Arial"/>
              </a:endParaRPr>
            </a:p>
            <a:p>
              <a:pPr marL="113664" indent="-10160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 smtClean="0">
                  <a:solidFill>
                    <a:srgbClr val="231F20"/>
                  </a:solidFill>
                  <a:cs typeface="Arial"/>
                </a:rPr>
                <a:t>risico’s</a:t>
              </a:r>
              <a:endParaRPr lang="nl-NL" sz="1000" spc="20" dirty="0">
                <a:solidFill>
                  <a:srgbClr val="231F20"/>
                </a:solidFill>
                <a:cs typeface="Arial"/>
              </a:endParaRPr>
            </a:p>
            <a:p>
              <a:pPr marL="113664" indent="-10160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>
                  <a:solidFill>
                    <a:srgbClr val="231F20"/>
                  </a:solidFill>
                  <a:cs typeface="Arial"/>
                </a:rPr>
                <a:t>cash-</a:t>
              </a:r>
              <a:r>
                <a:rPr lang="nl-NL" sz="1000" spc="20" dirty="0" smtClean="0">
                  <a:solidFill>
                    <a:srgbClr val="231F20"/>
                  </a:solidFill>
                  <a:cs typeface="Arial"/>
                </a:rPr>
                <a:t>flow</a:t>
              </a:r>
              <a:endParaRPr lang="nl-NL" sz="1000" spc="20" dirty="0">
                <a:solidFill>
                  <a:srgbClr val="231F20"/>
                </a:solidFill>
                <a:cs typeface="Arial"/>
              </a:endParaRPr>
            </a:p>
            <a:p>
              <a:pPr marL="113664" indent="-10160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>
                  <a:solidFill>
                    <a:srgbClr val="231F20"/>
                  </a:solidFill>
                  <a:cs typeface="Arial"/>
                </a:rPr>
                <a:t>financiering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43" name="object 17"/>
            <p:cNvSpPr txBox="1"/>
            <p:nvPr/>
          </p:nvSpPr>
          <p:spPr>
            <a:xfrm>
              <a:off x="6716653" y="5281674"/>
              <a:ext cx="1536476" cy="95418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9050">
                <a:lnSpc>
                  <a:spcPts val="1580"/>
                </a:lnSpc>
              </a:pPr>
              <a:r>
                <a:rPr sz="1300" b="1" spc="100" dirty="0">
                  <a:solidFill>
                    <a:srgbClr val="231F20"/>
                  </a:solidFill>
                  <a:latin typeface="Arial"/>
                  <a:cs typeface="Arial"/>
                </a:rPr>
                <a:t>Ontwerp</a:t>
              </a:r>
              <a:endParaRPr sz="1300" spc="100" dirty="0">
                <a:latin typeface="Arial"/>
                <a:cs typeface="Arial"/>
              </a:endParaRPr>
            </a:p>
            <a:p>
              <a:pPr marL="117475" indent="-10541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c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oncept</a:t>
              </a:r>
              <a:endParaRPr sz="1000" dirty="0">
                <a:latin typeface="Arial"/>
                <a:cs typeface="Arial"/>
              </a:endParaRPr>
            </a:p>
            <a:p>
              <a:pPr marL="117475" marR="87630" indent="-10541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lang="nl-NL" sz="1000" spc="20" dirty="0">
                  <a:solidFill>
                    <a:srgbClr val="231F20"/>
                  </a:solidFill>
                  <a:latin typeface="Arial"/>
                  <a:cs typeface="Arial"/>
                </a:rPr>
                <a:t>s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t</a:t>
              </a:r>
              <a:r>
                <a:rPr sz="1000" dirty="0" smtClean="0">
                  <a:solidFill>
                    <a:srgbClr val="231F20"/>
                  </a:solidFill>
                  <a:latin typeface="Arial"/>
                  <a:cs typeface="Arial"/>
                </a:rPr>
                <a:t>r</a:t>
              </a:r>
              <a:r>
                <a:rPr sz="1000" spc="5" dirty="0" smtClean="0">
                  <a:solidFill>
                    <a:srgbClr val="231F20"/>
                  </a:solidFill>
                  <a:latin typeface="Arial"/>
                  <a:cs typeface="Arial"/>
                </a:rPr>
                <a:t>a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tegisch </a:t>
              </a:r>
              <a:r>
                <a:rPr lang="nl-NL" sz="1000" spc="20" dirty="0">
                  <a:solidFill>
                    <a:srgbClr val="231F20"/>
                  </a:solidFill>
                  <a:latin typeface="Arial"/>
                  <a:cs typeface="Arial"/>
                </a:rPr>
                <a:t>o</a:t>
              </a:r>
              <a:r>
                <a:rPr sz="1000" spc="10" dirty="0" smtClean="0">
                  <a:solidFill>
                    <a:srgbClr val="231F20"/>
                  </a:solidFill>
                  <a:latin typeface="Arial"/>
                  <a:cs typeface="Arial"/>
                </a:rPr>
                <a:t>n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t</a:t>
              </a:r>
              <a:r>
                <a:rPr sz="1000" spc="-5" dirty="0" smtClean="0">
                  <a:solidFill>
                    <a:srgbClr val="231F20"/>
                  </a:solidFill>
                  <a:latin typeface="Arial"/>
                  <a:cs typeface="Arial"/>
                </a:rPr>
                <a:t>w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erp</a:t>
              </a:r>
              <a:endParaRPr sz="1000" dirty="0">
                <a:latin typeface="Arial"/>
                <a:cs typeface="Arial"/>
              </a:endParaRPr>
            </a:p>
            <a:p>
              <a:pPr marL="113664" indent="-101600">
                <a:lnSpc>
                  <a:spcPts val="1580"/>
                </a:lnSpc>
                <a:spcBef>
                  <a:spcPts val="204"/>
                </a:spcBef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enginee</a:t>
              </a:r>
              <a:r>
                <a:rPr sz="1000" spc="30" dirty="0">
                  <a:solidFill>
                    <a:srgbClr val="231F20"/>
                  </a:solidFill>
                  <a:latin typeface="Arial"/>
                  <a:cs typeface="Arial"/>
                </a:rPr>
                <a:t>r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ing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44" name="object 18"/>
            <p:cNvSpPr txBox="1"/>
            <p:nvPr/>
          </p:nvSpPr>
          <p:spPr>
            <a:xfrm>
              <a:off x="4862873" y="3461951"/>
              <a:ext cx="1274469" cy="104914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7145">
                <a:lnSpc>
                  <a:spcPts val="1580"/>
                </a:lnSpc>
              </a:pPr>
              <a:r>
                <a:rPr sz="1300" b="1" spc="100" dirty="0">
                  <a:solidFill>
                    <a:srgbClr val="231F20"/>
                  </a:solidFill>
                  <a:latin typeface="Arial"/>
                  <a:cs typeface="Arial"/>
                </a:rPr>
                <a:t>Programma</a:t>
              </a:r>
              <a:endParaRPr sz="1300" spc="100" dirty="0">
                <a:latin typeface="Arial"/>
                <a:cs typeface="Arial"/>
              </a:endParaRPr>
            </a:p>
            <a:p>
              <a:pPr marL="113664" indent="-101600">
                <a:lnSpc>
                  <a:spcPts val="1580"/>
                </a:lnSpc>
                <a:spcBef>
                  <a:spcPts val="439"/>
                </a:spcBef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sz="1000" spc="15" dirty="0">
                  <a:solidFill>
                    <a:srgbClr val="231F20"/>
                  </a:solidFill>
                  <a:latin typeface="Arial"/>
                  <a:cs typeface="Arial"/>
                </a:rPr>
                <a:t>m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arktv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r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aag</a:t>
              </a:r>
              <a:endParaRPr sz="1000" dirty="0">
                <a:latin typeface="Arial"/>
                <a:cs typeface="Arial"/>
              </a:endParaRPr>
            </a:p>
            <a:p>
              <a:pPr marL="113664" indent="-101600">
                <a:lnSpc>
                  <a:spcPts val="1580"/>
                </a:lnSpc>
                <a:spcBef>
                  <a:spcPts val="204"/>
                </a:spcBef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publie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ke</a:t>
              </a:r>
              <a:r>
                <a:rPr sz="1000" spc="4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eisen</a:t>
              </a:r>
              <a:endParaRPr sz="1000" dirty="0">
                <a:latin typeface="Arial"/>
                <a:cs typeface="Arial"/>
              </a:endParaRPr>
            </a:p>
            <a:p>
              <a:pPr marL="113664" indent="-101600">
                <a:lnSpc>
                  <a:spcPts val="1580"/>
                </a:lnSpc>
                <a:spcBef>
                  <a:spcPts val="204"/>
                </a:spcBef>
                <a:buClr>
                  <a:srgbClr val="231F20"/>
                </a:buClr>
                <a:buFont typeface="TheSerifSemiLight-Plain"/>
                <a:buChar char="•"/>
                <a:tabLst>
                  <a:tab pos="113664" algn="l"/>
                </a:tabLst>
              </a:pP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fase</a:t>
              </a:r>
              <a:r>
                <a:rPr sz="1000" spc="30" dirty="0">
                  <a:solidFill>
                    <a:srgbClr val="231F20"/>
                  </a:solidFill>
                  <a:latin typeface="Arial"/>
                  <a:cs typeface="Arial"/>
                </a:rPr>
                <a:t>r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ing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45" name="object 19"/>
            <p:cNvSpPr txBox="1"/>
            <p:nvPr/>
          </p:nvSpPr>
          <p:spPr>
            <a:xfrm>
              <a:off x="8038612" y="3281741"/>
              <a:ext cx="1944230" cy="172109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ts val="1580"/>
                </a:lnSpc>
              </a:pPr>
              <a:r>
                <a:rPr sz="1300" b="1" spc="100" dirty="0" smtClean="0">
                  <a:solidFill>
                    <a:srgbClr val="231F20"/>
                  </a:solidFill>
                  <a:latin typeface="Arial"/>
                  <a:cs typeface="Arial"/>
                </a:rPr>
                <a:t>Samenwerking</a:t>
              </a:r>
              <a:endParaRPr sz="1300" spc="100" dirty="0">
                <a:latin typeface="Arial"/>
                <a:cs typeface="Arial"/>
              </a:endParaRPr>
            </a:p>
            <a:p>
              <a:pPr marL="12700">
                <a:lnSpc>
                  <a:spcPts val="1580"/>
                </a:lnSpc>
                <a:spcBef>
                  <a:spcPts val="40"/>
                </a:spcBef>
              </a:pPr>
              <a:r>
                <a:rPr sz="1300" b="1" spc="100" dirty="0">
                  <a:solidFill>
                    <a:srgbClr val="231F20"/>
                  </a:solidFill>
                  <a:latin typeface="Arial"/>
                  <a:cs typeface="Arial"/>
                </a:rPr>
                <a:t>&amp; </a:t>
              </a:r>
              <a:r>
                <a:rPr sz="1300" b="1" spc="100" dirty="0" smtClean="0">
                  <a:solidFill>
                    <a:srgbClr val="231F20"/>
                  </a:solidFill>
                  <a:latin typeface="Arial"/>
                  <a:cs typeface="Arial"/>
                </a:rPr>
                <a:t>communicatie</a:t>
              </a:r>
              <a:endParaRPr sz="1300" spc="100" dirty="0">
                <a:latin typeface="Arial"/>
                <a:cs typeface="Arial"/>
              </a:endParaRPr>
            </a:p>
            <a:p>
              <a:pPr marL="112395" indent="-95250">
                <a:lnSpc>
                  <a:spcPts val="1580"/>
                </a:lnSpc>
                <a:buClr>
                  <a:srgbClr val="231F20"/>
                </a:buClr>
                <a:buFont typeface="TheSerifSemiLight-Plain"/>
                <a:buChar char="•"/>
                <a:tabLst>
                  <a:tab pos="118110" algn="l"/>
                </a:tabLst>
              </a:pP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same</a:t>
              </a:r>
              <a:r>
                <a:rPr sz="1000" spc="-25" dirty="0" smtClean="0">
                  <a:solidFill>
                    <a:srgbClr val="231F20"/>
                  </a:solidFill>
                  <a:latin typeface="Arial"/>
                  <a:cs typeface="Arial"/>
                </a:rPr>
                <a:t>n</a:t>
              </a:r>
              <a:r>
                <a:rPr sz="1000" spc="-5" dirty="0" smtClean="0">
                  <a:solidFill>
                    <a:srgbClr val="231F20"/>
                  </a:solidFill>
                  <a:latin typeface="Arial"/>
                  <a:cs typeface="Arial"/>
                </a:rPr>
                <a:t>w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erkings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-</a:t>
              </a:r>
              <a:endParaRPr sz="1000" dirty="0">
                <a:latin typeface="Arial"/>
                <a:cs typeface="Arial"/>
              </a:endParaRPr>
            </a:p>
            <a:p>
              <a:pPr marL="112395">
                <a:lnSpc>
                  <a:spcPts val="1580"/>
                </a:lnSpc>
                <a:spcBef>
                  <a:spcPts val="25"/>
                </a:spcBef>
              </a:pP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ar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r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angeme</a:t>
              </a:r>
              <a:r>
                <a:rPr sz="1000" spc="10" dirty="0">
                  <a:solidFill>
                    <a:srgbClr val="231F20"/>
                  </a:solidFill>
                  <a:latin typeface="Arial"/>
                  <a:cs typeface="Arial"/>
                </a:rPr>
                <a:t>n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t</a:t>
              </a:r>
              <a:r>
                <a:rPr sz="1000" spc="4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[s</a:t>
              </a:r>
              <a:r>
                <a:rPr sz="1000" spc="5" dirty="0">
                  <a:solidFill>
                    <a:srgbClr val="231F20"/>
                  </a:solidFill>
                  <a:latin typeface="Arial"/>
                  <a:cs typeface="Arial"/>
                </a:rPr>
                <a:t>o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k]</a:t>
              </a:r>
              <a:endParaRPr sz="1000" dirty="0">
                <a:latin typeface="Arial"/>
                <a:cs typeface="Arial"/>
              </a:endParaRPr>
            </a:p>
            <a:p>
              <a:pPr marL="118110" indent="-101600">
                <a:lnSpc>
                  <a:spcPts val="1580"/>
                </a:lnSpc>
                <a:spcBef>
                  <a:spcPts val="380"/>
                </a:spcBef>
                <a:buClr>
                  <a:srgbClr val="231F20"/>
                </a:buClr>
                <a:buFont typeface="TheSerifSemiLight-Plain"/>
                <a:buChar char="•"/>
                <a:tabLst>
                  <a:tab pos="118110" algn="l"/>
                </a:tabLst>
              </a:pP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gebiedscom</a:t>
              </a:r>
              <a:r>
                <a:rPr sz="1000" spc="-15" dirty="0" smtClean="0">
                  <a:solidFill>
                    <a:srgbClr val="231F20"/>
                  </a:solidFill>
                  <a:latin typeface="Arial"/>
                  <a:cs typeface="Arial"/>
                </a:rPr>
                <a:t>m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unic</a:t>
              </a:r>
              <a:r>
                <a:rPr sz="1000" spc="5" dirty="0" smtClean="0">
                  <a:solidFill>
                    <a:srgbClr val="231F20"/>
                  </a:solidFill>
                  <a:latin typeface="Arial"/>
                  <a:cs typeface="Arial"/>
                </a:rPr>
                <a:t>a</a:t>
              </a:r>
              <a:r>
                <a:rPr sz="1000" spc="20" dirty="0" smtClean="0">
                  <a:solidFill>
                    <a:srgbClr val="231F20"/>
                  </a:solidFill>
                  <a:latin typeface="Arial"/>
                  <a:cs typeface="Arial"/>
                </a:rPr>
                <a:t>tie</a:t>
              </a:r>
              <a:endParaRPr sz="1000" dirty="0">
                <a:latin typeface="Arial"/>
                <a:cs typeface="Arial"/>
              </a:endParaRPr>
            </a:p>
            <a:p>
              <a:pPr marL="112395" marR="384175" indent="-95250">
                <a:lnSpc>
                  <a:spcPts val="1580"/>
                </a:lnSpc>
                <a:spcBef>
                  <a:spcPts val="175"/>
                </a:spcBef>
                <a:buClr>
                  <a:srgbClr val="231F20"/>
                </a:buClr>
                <a:buFont typeface="TheSerifSemiLight-Plain"/>
                <a:buChar char="•"/>
                <a:tabLst>
                  <a:tab pos="118110" algn="l"/>
                </a:tabLst>
              </a:pP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sta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k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eh</a:t>
              </a:r>
              <a:r>
                <a:rPr sz="1000" spc="5" dirty="0">
                  <a:solidFill>
                    <a:srgbClr val="231F20"/>
                  </a:solidFill>
                  <a:latin typeface="Arial"/>
                  <a:cs typeface="Arial"/>
                </a:rPr>
                <a:t>o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lder- </a:t>
              </a:r>
              <a:r>
                <a:rPr sz="1000" spc="15" dirty="0">
                  <a:solidFill>
                    <a:srgbClr val="231F20"/>
                  </a:solidFill>
                  <a:latin typeface="Arial"/>
                  <a:cs typeface="Arial"/>
                </a:rPr>
                <a:t>m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a</a:t>
              </a:r>
              <a:r>
                <a:rPr sz="1000" spc="15" dirty="0">
                  <a:solidFill>
                    <a:srgbClr val="231F20"/>
                  </a:solidFill>
                  <a:latin typeface="Arial"/>
                  <a:cs typeface="Arial"/>
                </a:rPr>
                <a:t>n</a:t>
              </a:r>
              <a:r>
                <a:rPr sz="1000" spc="20" dirty="0">
                  <a:solidFill>
                    <a:srgbClr val="231F20"/>
                  </a:solidFill>
                  <a:latin typeface="Arial"/>
                  <a:cs typeface="Arial"/>
                </a:rPr>
                <a:t>ageme</a:t>
              </a:r>
              <a:r>
                <a:rPr sz="1000" spc="10" dirty="0">
                  <a:solidFill>
                    <a:srgbClr val="231F20"/>
                  </a:solidFill>
                  <a:latin typeface="Arial"/>
                  <a:cs typeface="Arial"/>
                </a:rPr>
                <a:t>n</a:t>
              </a:r>
              <a:r>
                <a:rPr sz="1000" dirty="0">
                  <a:solidFill>
                    <a:srgbClr val="231F20"/>
                  </a:solidFill>
                  <a:latin typeface="Arial"/>
                  <a:cs typeface="Arial"/>
                </a:rPr>
                <a:t>t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46" name="Ovaal 45"/>
            <p:cNvSpPr/>
            <p:nvPr/>
          </p:nvSpPr>
          <p:spPr>
            <a:xfrm>
              <a:off x="6338145" y="3323056"/>
              <a:ext cx="1586527" cy="1586527"/>
            </a:xfrm>
            <a:prstGeom prst="ellipse">
              <a:avLst/>
            </a:prstGeom>
            <a:solidFill>
              <a:schemeClr val="bg1"/>
            </a:solidFill>
            <a:ln w="12382">
              <a:noFill/>
            </a:ln>
            <a:effectLst>
              <a:outerShdw blurRad="190500" dist="127000" dir="3600000" algn="tl" rotWithShape="0">
                <a:schemeClr val="tx1">
                  <a:alpha val="10000"/>
                </a:schemeClr>
              </a:outerShdw>
            </a:effectLst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nl-NL"/>
            </a:p>
          </p:txBody>
        </p:sp>
        <p:sp>
          <p:nvSpPr>
            <p:cNvPr id="47" name="object 19"/>
            <p:cNvSpPr txBox="1"/>
            <p:nvPr/>
          </p:nvSpPr>
          <p:spPr>
            <a:xfrm>
              <a:off x="6544985" y="3479784"/>
              <a:ext cx="1143000" cy="19495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sz="1100" spc="160" dirty="0">
                  <a:solidFill>
                    <a:srgbClr val="231F20"/>
                  </a:solidFill>
                  <a:latin typeface="Arial"/>
                  <a:cs typeface="Arial"/>
                </a:rPr>
                <a:t>GEB</a:t>
              </a:r>
              <a:r>
                <a:rPr sz="1100" dirty="0">
                  <a:solidFill>
                    <a:srgbClr val="231F20"/>
                  </a:solidFill>
                  <a:latin typeface="Arial"/>
                  <a:cs typeface="Arial"/>
                </a:rPr>
                <a:t>I</a:t>
              </a:r>
              <a:r>
                <a:rPr sz="1100" spc="160" dirty="0">
                  <a:solidFill>
                    <a:srgbClr val="231F20"/>
                  </a:solidFill>
                  <a:latin typeface="Arial"/>
                  <a:cs typeface="Arial"/>
                </a:rPr>
                <a:t>E</a:t>
              </a:r>
              <a:r>
                <a:rPr sz="1100" spc="5" dirty="0">
                  <a:solidFill>
                    <a:srgbClr val="231F20"/>
                  </a:solidFill>
                  <a:latin typeface="Arial"/>
                  <a:cs typeface="Arial"/>
                </a:rPr>
                <a:t>D</a:t>
              </a:r>
              <a:r>
                <a:rPr sz="1100" spc="-105" dirty="0">
                  <a:solidFill>
                    <a:srgbClr val="231F20"/>
                  </a:solidFill>
                  <a:latin typeface="Arial"/>
                  <a:cs typeface="Arial"/>
                </a:rPr>
                <a:t> </a:t>
              </a:r>
              <a:endParaRPr sz="1100" dirty="0">
                <a:latin typeface="Arial"/>
                <a:cs typeface="Arial"/>
              </a:endParaRPr>
            </a:p>
          </p:txBody>
        </p:sp>
      </p:grpSp>
      <p:sp>
        <p:nvSpPr>
          <p:cNvPr id="32" name="object 63"/>
          <p:cNvSpPr txBox="1"/>
          <p:nvPr/>
        </p:nvSpPr>
        <p:spPr>
          <a:xfrm>
            <a:off x="4784486" y="3432275"/>
            <a:ext cx="1437105" cy="6162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74295" algn="ctr">
              <a:lnSpc>
                <a:spcPts val="1000"/>
              </a:lnSpc>
            </a:pPr>
            <a:r>
              <a:rPr sz="1000" b="1" spc="40" dirty="0">
                <a:solidFill>
                  <a:srgbClr val="ED1A3A"/>
                </a:solidFill>
                <a:latin typeface="Arial"/>
                <a:cs typeface="Arial"/>
              </a:rPr>
              <a:t>stu</a:t>
            </a:r>
            <a:r>
              <a:rPr sz="1000" b="1" spc="50" dirty="0">
                <a:solidFill>
                  <a:srgbClr val="ED1A3A"/>
                </a:solidFill>
                <a:latin typeface="Arial"/>
                <a:cs typeface="Arial"/>
              </a:rPr>
              <a:t>r</a:t>
            </a:r>
            <a:r>
              <a:rPr sz="1000" b="1" spc="40" dirty="0">
                <a:solidFill>
                  <a:srgbClr val="ED1A3A"/>
                </a:solidFill>
                <a:latin typeface="Arial"/>
                <a:cs typeface="Arial"/>
              </a:rPr>
              <a:t>ing</a:t>
            </a:r>
            <a:endParaRPr sz="1000" dirty="0">
              <a:latin typeface="Arial"/>
              <a:cs typeface="Arial"/>
            </a:endParaRPr>
          </a:p>
          <a:p>
            <a:pPr marL="113664" indent="-101600" algn="ctr">
              <a:lnSpc>
                <a:spcPts val="1000"/>
              </a:lnSpc>
              <a:spcBef>
                <a:spcPts val="384"/>
              </a:spcBef>
              <a:buClr>
                <a:srgbClr val="ED1A3A"/>
              </a:buClr>
              <a:buFont typeface="The Serif- TheSerif"/>
              <a:buChar char="•"/>
              <a:tabLst>
                <a:tab pos="113664" algn="l"/>
              </a:tabLst>
            </a:pP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ondernemersc</a:t>
            </a:r>
            <a:r>
              <a:rPr sz="900" spc="15" dirty="0">
                <a:solidFill>
                  <a:srgbClr val="ED1A3A"/>
                </a:solidFill>
                <a:latin typeface="The Serif- TheSerif"/>
                <a:cs typeface="The Serif- TheSerif"/>
              </a:rPr>
              <a:t>ha</a:t>
            </a:r>
            <a:r>
              <a:rPr sz="900" dirty="0">
                <a:solidFill>
                  <a:srgbClr val="ED1A3A"/>
                </a:solidFill>
                <a:latin typeface="The Serif- TheSerif"/>
                <a:cs typeface="The Serif- TheSerif"/>
              </a:rPr>
              <a:t>p</a:t>
            </a:r>
            <a:endParaRPr sz="900" dirty="0">
              <a:latin typeface="The Serif- TheSerif"/>
              <a:cs typeface="The Serif- TheSerif"/>
            </a:endParaRPr>
          </a:p>
          <a:p>
            <a:pPr marL="113664" indent="-101600" algn="ctr">
              <a:lnSpc>
                <a:spcPts val="1000"/>
              </a:lnSpc>
              <a:spcBef>
                <a:spcPts val="204"/>
              </a:spcBef>
              <a:buClr>
                <a:srgbClr val="ED1A3A"/>
              </a:buClr>
              <a:buFont typeface="The Serif- TheSerif"/>
              <a:buChar char="•"/>
              <a:tabLst>
                <a:tab pos="113664" algn="l"/>
              </a:tabLst>
            </a:pP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inhoudel</a:t>
            </a:r>
            <a:r>
              <a:rPr sz="900" dirty="0">
                <a:solidFill>
                  <a:srgbClr val="ED1A3A"/>
                </a:solidFill>
                <a:latin typeface="The Serif- TheSerif"/>
                <a:cs typeface="The Serif- TheSerif"/>
              </a:rPr>
              <a:t>i</a:t>
            </a: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j</a:t>
            </a:r>
            <a:r>
              <a:rPr sz="900" dirty="0">
                <a:solidFill>
                  <a:srgbClr val="ED1A3A"/>
                </a:solidFill>
                <a:latin typeface="The Serif- TheSerif"/>
                <a:cs typeface="The Serif- TheSerif"/>
              </a:rPr>
              <a:t>ke</a:t>
            </a:r>
            <a:r>
              <a:rPr sz="900" spc="45" dirty="0">
                <a:solidFill>
                  <a:srgbClr val="ED1A3A"/>
                </a:solidFill>
                <a:latin typeface="The Serif- TheSerif"/>
                <a:cs typeface="The Serif- TheSerif"/>
              </a:rPr>
              <a:t> </a:t>
            </a:r>
            <a:r>
              <a:rPr sz="900" dirty="0">
                <a:solidFill>
                  <a:srgbClr val="ED1A3A"/>
                </a:solidFill>
                <a:latin typeface="The Serif- TheSerif"/>
                <a:cs typeface="The Serif- TheSerif"/>
              </a:rPr>
              <a:t>k</a:t>
            </a: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ennis</a:t>
            </a:r>
            <a:endParaRPr sz="900" dirty="0">
              <a:latin typeface="The Serif- TheSerif"/>
              <a:cs typeface="The Serif- TheSerif"/>
            </a:endParaRPr>
          </a:p>
          <a:p>
            <a:pPr marL="113664" indent="-101600" algn="ctr">
              <a:lnSpc>
                <a:spcPts val="1000"/>
              </a:lnSpc>
              <a:spcBef>
                <a:spcPts val="204"/>
              </a:spcBef>
              <a:buClr>
                <a:srgbClr val="ED1A3A"/>
              </a:buClr>
              <a:buFont typeface="The Serif- TheSerif"/>
              <a:buChar char="•"/>
              <a:tabLst>
                <a:tab pos="113664" algn="l"/>
              </a:tabLst>
            </a:pP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or</a:t>
            </a:r>
            <a:r>
              <a:rPr sz="900" spc="-5" dirty="0">
                <a:solidFill>
                  <a:srgbClr val="ED1A3A"/>
                </a:solidFill>
                <a:latin typeface="The Serif- TheSerif"/>
                <a:cs typeface="The Serif- TheSerif"/>
              </a:rPr>
              <a:t>g</a:t>
            </a: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anis</a:t>
            </a:r>
            <a:r>
              <a:rPr sz="900" spc="5" dirty="0">
                <a:solidFill>
                  <a:srgbClr val="ED1A3A"/>
                </a:solidFill>
                <a:latin typeface="The Serif- TheSerif"/>
                <a:cs typeface="The Serif- TheSerif"/>
              </a:rPr>
              <a:t>a</a:t>
            </a:r>
            <a:r>
              <a:rPr sz="900" spc="20" dirty="0">
                <a:solidFill>
                  <a:srgbClr val="ED1A3A"/>
                </a:solidFill>
                <a:latin typeface="The Serif- TheSerif"/>
                <a:cs typeface="The Serif- TheSerif"/>
              </a:rPr>
              <a:t>ti</a:t>
            </a:r>
            <a:r>
              <a:rPr sz="900" dirty="0">
                <a:solidFill>
                  <a:srgbClr val="ED1A3A"/>
                </a:solidFill>
                <a:latin typeface="The Serif- TheSerif"/>
                <a:cs typeface="The Serif- TheSerif"/>
              </a:rPr>
              <a:t>e</a:t>
            </a:r>
            <a:r>
              <a:rPr sz="900" dirty="0" smtClean="0">
                <a:solidFill>
                  <a:srgbClr val="ED1A3A"/>
                </a:solidFill>
                <a:latin typeface="The Serif- TheSerif"/>
                <a:cs typeface="The Serif- TheSerif"/>
              </a:rPr>
              <a:t>v</a:t>
            </a:r>
            <a:r>
              <a:rPr sz="900" spc="20" dirty="0" smtClean="0">
                <a:solidFill>
                  <a:srgbClr val="ED1A3A"/>
                </a:solidFill>
                <a:latin typeface="The Serif- TheSerif"/>
                <a:cs typeface="The Serif- TheSerif"/>
              </a:rPr>
              <a:t>ermogen</a:t>
            </a:r>
            <a:endParaRPr sz="900" dirty="0">
              <a:latin typeface="The Serif- TheSerif"/>
              <a:cs typeface="The Serif- TheSerif"/>
            </a:endParaRPr>
          </a:p>
        </p:txBody>
      </p:sp>
      <p:pic>
        <p:nvPicPr>
          <p:cNvPr id="33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87" y="5738435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159342" y="6530325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  <p:sp>
        <p:nvSpPr>
          <p:cNvPr id="4" name="PIJL-OMLAAG 3"/>
          <p:cNvSpPr/>
          <p:nvPr/>
        </p:nvSpPr>
        <p:spPr>
          <a:xfrm>
            <a:off x="5237695" y="146304"/>
            <a:ext cx="504705" cy="1311272"/>
          </a:xfrm>
          <a:prstGeom prst="downArrow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</p:spTree>
    <p:extLst>
      <p:ext uri="{BB962C8B-B14F-4D97-AF65-F5344CB8AC3E}">
        <p14:creationId xmlns:p14="http://schemas.microsoft.com/office/powerpoint/2010/main" val="1395663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4294967295"/>
          </p:nvPr>
        </p:nvSpPr>
        <p:spPr>
          <a:xfrm>
            <a:off x="8605767" y="6609348"/>
            <a:ext cx="171521" cy="169277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  <p:cxnSp>
        <p:nvCxnSpPr>
          <p:cNvPr id="4" name="Rechte verbindingslijn 3"/>
          <p:cNvCxnSpPr/>
          <p:nvPr/>
        </p:nvCxnSpPr>
        <p:spPr>
          <a:xfrm>
            <a:off x="1091953" y="710214"/>
            <a:ext cx="35511" cy="450985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echte verbindingslijn 5"/>
          <p:cNvCxnSpPr/>
          <p:nvPr/>
        </p:nvCxnSpPr>
        <p:spPr>
          <a:xfrm>
            <a:off x="1109708" y="2849732"/>
            <a:ext cx="7190913" cy="133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kstvak 6"/>
          <p:cNvSpPr txBox="1"/>
          <p:nvPr/>
        </p:nvSpPr>
        <p:spPr>
          <a:xfrm>
            <a:off x="905522" y="156070"/>
            <a:ext cx="93543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000" b="1" dirty="0" smtClean="0"/>
              <a:t>Aangepaste investeringsstrategie vermindert financieringsbehoefte</a:t>
            </a:r>
          </a:p>
        </p:txBody>
      </p:sp>
      <p:cxnSp>
        <p:nvCxnSpPr>
          <p:cNvPr id="12" name="Rechte verbindingslijn 11"/>
          <p:cNvCxnSpPr/>
          <p:nvPr/>
        </p:nvCxnSpPr>
        <p:spPr>
          <a:xfrm>
            <a:off x="798990" y="5220070"/>
            <a:ext cx="10653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al 21"/>
          <p:cNvSpPr/>
          <p:nvPr/>
        </p:nvSpPr>
        <p:spPr>
          <a:xfrm>
            <a:off x="790112" y="2743200"/>
            <a:ext cx="88777" cy="10653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42" name="Plus 41"/>
          <p:cNvSpPr/>
          <p:nvPr/>
        </p:nvSpPr>
        <p:spPr>
          <a:xfrm>
            <a:off x="790112" y="710214"/>
            <a:ext cx="186432" cy="177553"/>
          </a:xfrm>
          <a:prstGeom prst="mathPlus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43" name="PIJL-OMHOOG 42"/>
          <p:cNvSpPr/>
          <p:nvPr/>
        </p:nvSpPr>
        <p:spPr>
          <a:xfrm>
            <a:off x="1225118" y="710214"/>
            <a:ext cx="268549" cy="564096"/>
          </a:xfrm>
          <a:prstGeom prst="up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44" name="Tekstvak 43"/>
          <p:cNvSpPr txBox="1"/>
          <p:nvPr/>
        </p:nvSpPr>
        <p:spPr>
          <a:xfrm>
            <a:off x="1602419" y="1274310"/>
            <a:ext cx="79011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000" dirty="0" smtClean="0"/>
              <a:t>geld</a:t>
            </a:r>
          </a:p>
        </p:txBody>
      </p:sp>
      <p:sp>
        <p:nvSpPr>
          <p:cNvPr id="46" name="PIJL-RECHTS 45"/>
          <p:cNvSpPr/>
          <p:nvPr/>
        </p:nvSpPr>
        <p:spPr>
          <a:xfrm>
            <a:off x="7306056" y="2965142"/>
            <a:ext cx="698251" cy="268309"/>
          </a:xfrm>
          <a:prstGeom prst="rightArrow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47" name="Tekstvak 46"/>
          <p:cNvSpPr txBox="1"/>
          <p:nvPr/>
        </p:nvSpPr>
        <p:spPr>
          <a:xfrm>
            <a:off x="7559690" y="3353132"/>
            <a:ext cx="110970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000" dirty="0" smtClean="0"/>
              <a:t>tijd</a:t>
            </a:r>
          </a:p>
        </p:txBody>
      </p:sp>
      <p:sp>
        <p:nvSpPr>
          <p:cNvPr id="59" name="Vrije vorm 58"/>
          <p:cNvSpPr/>
          <p:nvPr/>
        </p:nvSpPr>
        <p:spPr>
          <a:xfrm>
            <a:off x="1127464" y="1284580"/>
            <a:ext cx="4962618" cy="3130303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7" name="Rechthoek 16"/>
          <p:cNvSpPr/>
          <p:nvPr/>
        </p:nvSpPr>
        <p:spPr>
          <a:xfrm>
            <a:off x="1384739" y="4967056"/>
            <a:ext cx="621436" cy="186431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18" name="Rechthoek 17"/>
          <p:cNvSpPr/>
          <p:nvPr/>
        </p:nvSpPr>
        <p:spPr>
          <a:xfrm>
            <a:off x="1376039" y="5381850"/>
            <a:ext cx="621436" cy="186431"/>
          </a:xfrm>
          <a:prstGeom prst="rect">
            <a:avLst/>
          </a:prstGeom>
          <a:solidFill>
            <a:srgbClr val="00B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3" name="Rechthoek 2"/>
          <p:cNvSpPr/>
          <p:nvPr/>
        </p:nvSpPr>
        <p:spPr>
          <a:xfrm>
            <a:off x="2096491" y="4856512"/>
            <a:ext cx="322876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1600" dirty="0"/>
              <a:t>Badkuip: forse voorinvesteringen </a:t>
            </a:r>
          </a:p>
        </p:txBody>
      </p:sp>
      <p:sp>
        <p:nvSpPr>
          <p:cNvPr id="5" name="Rechthoek 4"/>
          <p:cNvSpPr/>
          <p:nvPr/>
        </p:nvSpPr>
        <p:spPr>
          <a:xfrm>
            <a:off x="2083666" y="5259621"/>
            <a:ext cx="70407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600" dirty="0"/>
              <a:t>Wasbak: </a:t>
            </a:r>
            <a:r>
              <a:rPr lang="nl-NL" sz="1600" dirty="0" smtClean="0"/>
              <a:t>geringere voorinvesteringen met eerdere opbrengsten </a:t>
            </a:r>
            <a:endParaRPr lang="nl-NL" sz="1600" dirty="0"/>
          </a:p>
        </p:txBody>
      </p:sp>
      <p:sp>
        <p:nvSpPr>
          <p:cNvPr id="24" name="Vrije vorm 23"/>
          <p:cNvSpPr/>
          <p:nvPr/>
        </p:nvSpPr>
        <p:spPr>
          <a:xfrm>
            <a:off x="1493668" y="2444837"/>
            <a:ext cx="1471473" cy="868966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92D050"/>
              </a:solidFill>
            </a:endParaRPr>
          </a:p>
        </p:txBody>
      </p:sp>
      <p:sp>
        <p:nvSpPr>
          <p:cNvPr id="25" name="Vrije vorm 24"/>
          <p:cNvSpPr/>
          <p:nvPr/>
        </p:nvSpPr>
        <p:spPr>
          <a:xfrm rot="212085">
            <a:off x="2543461" y="2455910"/>
            <a:ext cx="1414778" cy="946524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3" name="Vrije vorm 22"/>
          <p:cNvSpPr/>
          <p:nvPr/>
        </p:nvSpPr>
        <p:spPr>
          <a:xfrm rot="280671">
            <a:off x="5038342" y="2619079"/>
            <a:ext cx="842753" cy="587559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8" name="Vrije vorm 27"/>
          <p:cNvSpPr/>
          <p:nvPr/>
        </p:nvSpPr>
        <p:spPr>
          <a:xfrm rot="280671">
            <a:off x="5589616" y="2597324"/>
            <a:ext cx="770738" cy="605707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Vrije vorm 28"/>
          <p:cNvSpPr/>
          <p:nvPr/>
        </p:nvSpPr>
        <p:spPr>
          <a:xfrm rot="280671">
            <a:off x="4428425" y="2586493"/>
            <a:ext cx="908776" cy="652728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0" name="Vrije vorm 29"/>
          <p:cNvSpPr/>
          <p:nvPr/>
        </p:nvSpPr>
        <p:spPr>
          <a:xfrm rot="280671">
            <a:off x="3510688" y="2498734"/>
            <a:ext cx="1237308" cy="801948"/>
          </a:xfrm>
          <a:custGeom>
            <a:avLst/>
            <a:gdLst>
              <a:gd name="connsiteX0" fmla="*/ 0 w 5290251"/>
              <a:gd name="connsiteY0" fmla="*/ 1784838 h 3528564"/>
              <a:gd name="connsiteX1" fmla="*/ 2379216 w 5290251"/>
              <a:gd name="connsiteY1" fmla="*/ 3489350 h 3528564"/>
              <a:gd name="connsiteX2" fmla="*/ 5042517 w 5290251"/>
              <a:gd name="connsiteY2" fmla="*/ 293389 h 3528564"/>
              <a:gd name="connsiteX3" fmla="*/ 5015884 w 5290251"/>
              <a:gd name="connsiteY3" fmla="*/ 337778 h 35285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90251" h="3528564">
                <a:moveTo>
                  <a:pt x="0" y="1784838"/>
                </a:moveTo>
                <a:cubicBezTo>
                  <a:pt x="769398" y="2761381"/>
                  <a:pt x="1538797" y="3737925"/>
                  <a:pt x="2379216" y="3489350"/>
                </a:cubicBezTo>
                <a:cubicBezTo>
                  <a:pt x="3219635" y="3240775"/>
                  <a:pt x="4603072" y="818651"/>
                  <a:pt x="5042517" y="293389"/>
                </a:cubicBezTo>
                <a:cubicBezTo>
                  <a:pt x="5481962" y="-231873"/>
                  <a:pt x="5248923" y="52952"/>
                  <a:pt x="5015884" y="337778"/>
                </a:cubicBezTo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Boog 7"/>
          <p:cNvSpPr/>
          <p:nvPr/>
        </p:nvSpPr>
        <p:spPr>
          <a:xfrm rot="19577033">
            <a:off x="5789613" y="1273052"/>
            <a:ext cx="736652" cy="125628"/>
          </a:xfrm>
          <a:prstGeom prst="arc">
            <a:avLst>
              <a:gd name="adj1" fmla="val 13170097"/>
              <a:gd name="adj2" fmla="val 57298"/>
            </a:avLst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>
              <a:solidFill>
                <a:srgbClr val="FF0000"/>
              </a:solidFill>
            </a:endParaRPr>
          </a:p>
        </p:txBody>
      </p:sp>
      <p:pic>
        <p:nvPicPr>
          <p:cNvPr id="26" name="Picture 10" descr="tu-skg-fc_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604361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hoek 8"/>
          <p:cNvSpPr/>
          <p:nvPr/>
        </p:nvSpPr>
        <p:spPr>
          <a:xfrm>
            <a:off x="-3674" y="6503431"/>
            <a:ext cx="26068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err="1"/>
              <a:t>Praktijkleerstoel</a:t>
            </a:r>
            <a:r>
              <a:rPr lang="en-US" sz="1050" b="1" dirty="0"/>
              <a:t> </a:t>
            </a:r>
            <a:r>
              <a:rPr lang="en-US" sz="1050" b="1" dirty="0" err="1"/>
              <a:t>Gebiedsontwikkeling</a:t>
            </a:r>
            <a:endParaRPr lang="nl-NL" sz="1050" b="1" dirty="0"/>
          </a:p>
        </p:txBody>
      </p:sp>
    </p:spTree>
    <p:extLst>
      <p:ext uri="{BB962C8B-B14F-4D97-AF65-F5344CB8AC3E}">
        <p14:creationId xmlns:p14="http://schemas.microsoft.com/office/powerpoint/2010/main" val="1433285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12</a:t>
            </a:fld>
            <a:endParaRPr lang="nl-NL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22725"/>
            <a:ext cx="9144000" cy="5328111"/>
          </a:xfrm>
          <a:prstGeom prst="rect">
            <a:avLst/>
          </a:prstGeom>
        </p:spPr>
      </p:pic>
      <p:sp>
        <p:nvSpPr>
          <p:cNvPr id="4" name="Tekstvak 3"/>
          <p:cNvSpPr txBox="1"/>
          <p:nvPr/>
        </p:nvSpPr>
        <p:spPr>
          <a:xfrm>
            <a:off x="6400800" y="109728"/>
            <a:ext cx="366674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 smtClean="0"/>
              <a:t>Sturingsambitie</a:t>
            </a:r>
          </a:p>
        </p:txBody>
      </p:sp>
      <p:sp>
        <p:nvSpPr>
          <p:cNvPr id="5" name="PIJL-OMLAAG 4"/>
          <p:cNvSpPr/>
          <p:nvPr/>
        </p:nvSpPr>
        <p:spPr>
          <a:xfrm rot="5400000">
            <a:off x="8110727" y="3347374"/>
            <a:ext cx="466344" cy="1278821"/>
          </a:xfrm>
          <a:prstGeom prst="downArrow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smtClean="0"/>
          </a:p>
        </p:txBody>
      </p:sp>
      <p:sp>
        <p:nvSpPr>
          <p:cNvPr id="7" name="Tekstvak 6"/>
          <p:cNvSpPr txBox="1"/>
          <p:nvPr/>
        </p:nvSpPr>
        <p:spPr>
          <a:xfrm>
            <a:off x="2835991" y="768095"/>
            <a:ext cx="460857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b="1" dirty="0" smtClean="0"/>
              <a:t>Organisatievermogen</a:t>
            </a:r>
          </a:p>
        </p:txBody>
      </p:sp>
      <p:pic>
        <p:nvPicPr>
          <p:cNvPr id="8" name="Picture 2" descr="Jonge vrouw in groene baret">
            <a:hlinkClick r:id="rId4" tooltip="Download Jonge Vrouw In Groene Baret Royalty-vrije Stock Afbeeldingen - Beeld: 15781959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463" y="4480055"/>
            <a:ext cx="945979" cy="631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tu-skg-fc_kl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87216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0" y="6356713"/>
            <a:ext cx="26068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err="1"/>
              <a:t>Praktijkleerstoel</a:t>
            </a:r>
            <a:r>
              <a:rPr lang="en-US" sz="1050" b="1" dirty="0"/>
              <a:t> </a:t>
            </a:r>
            <a:r>
              <a:rPr lang="en-US" sz="1050" b="1" dirty="0" err="1"/>
              <a:t>Gebiedsontwikkeling</a:t>
            </a:r>
            <a:endParaRPr lang="nl-NL" sz="1050" b="1" dirty="0"/>
          </a:p>
        </p:txBody>
      </p:sp>
    </p:spTree>
    <p:extLst>
      <p:ext uri="{BB962C8B-B14F-4D97-AF65-F5344CB8AC3E}">
        <p14:creationId xmlns:p14="http://schemas.microsoft.com/office/powerpoint/2010/main" val="290995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object 6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0"/>
                </a:move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58" name="object 7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1662836"/>
                </a:move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59" name="object 8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0" name="object 9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1" name="object 10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2" name="object 11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3" name="object 12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4" name="object 13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0" name="object 32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7EFBB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1" name="object 33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2" name="object 34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3" name="object 35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4" name="object 36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5" name="object 37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97" name="object 16"/>
          <p:cNvSpPr txBox="1"/>
          <p:nvPr/>
        </p:nvSpPr>
        <p:spPr>
          <a:xfrm>
            <a:off x="174794" y="1915797"/>
            <a:ext cx="990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STAD &amp; REGIO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8" name="object 16"/>
          <p:cNvSpPr txBox="1"/>
          <p:nvPr/>
        </p:nvSpPr>
        <p:spPr>
          <a:xfrm>
            <a:off x="1165394" y="1915797"/>
            <a:ext cx="5334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GEBIED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9" name="object 16"/>
          <p:cNvSpPr txBox="1"/>
          <p:nvPr/>
        </p:nvSpPr>
        <p:spPr>
          <a:xfrm>
            <a:off x="1698794" y="1823464"/>
            <a:ext cx="609600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PROJECT</a:t>
            </a:r>
          </a:p>
          <a:p>
            <a:pPr marL="12700" algn="ctr">
              <a:lnSpc>
                <a:spcPct val="100000"/>
              </a:lnSpc>
            </a:pPr>
            <a:r>
              <a:rPr lang="nl-NL" sz="5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OF</a:t>
            </a:r>
          </a:p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KAVELS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00" name="object 16"/>
          <p:cNvSpPr txBox="1"/>
          <p:nvPr/>
        </p:nvSpPr>
        <p:spPr>
          <a:xfrm>
            <a:off x="2308394" y="1915797"/>
            <a:ext cx="609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REALISATIE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207963"/>
            <a:ext cx="8542338" cy="461665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>
                <a:cs typeface="Arial"/>
              </a:rPr>
              <a:t>sturing </a:t>
            </a:r>
            <a:r>
              <a:rPr lang="nl-NL" spc="90" dirty="0" smtClean="0">
                <a:cs typeface="Arial"/>
              </a:rPr>
              <a:t>gebiedsontwikkeling:</a:t>
            </a:r>
            <a:endParaRPr lang="nl-NL" spc="90" dirty="0"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98741" y="6609348"/>
            <a:ext cx="78547" cy="169277"/>
          </a:xfrm>
        </p:spPr>
        <p:txBody>
          <a:bodyPr/>
          <a:lstStyle/>
          <a:p>
            <a:fld id="{8DA1EC87-F007-413E-9577-D1D88117C3DE}" type="slidenum">
              <a:rPr lang="nl-NL" smtClean="0"/>
              <a:pPr/>
              <a:t>13</a:t>
            </a:fld>
            <a:endParaRPr lang="nl-NL" dirty="0"/>
          </a:p>
        </p:txBody>
      </p:sp>
      <p:sp>
        <p:nvSpPr>
          <p:cNvPr id="24" name="Tekstvak 23"/>
          <p:cNvSpPr txBox="1"/>
          <p:nvPr/>
        </p:nvSpPr>
        <p:spPr>
          <a:xfrm>
            <a:off x="3904233" y="528419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endParaRPr lang="nl-NL" sz="1600" b="1" i="1" spc="90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sp>
        <p:nvSpPr>
          <p:cNvPr id="36" name="Tekstvak 35"/>
          <p:cNvSpPr txBox="1"/>
          <p:nvPr/>
        </p:nvSpPr>
        <p:spPr>
          <a:xfrm>
            <a:off x="3904233" y="511911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nl-NL" sz="1600" b="1" spc="9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Vakinhoudelijke </a:t>
            </a:r>
            <a:r>
              <a:rPr lang="nl-NL" sz="1600" b="1" spc="9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ctiviteiten</a:t>
            </a:r>
            <a:endParaRPr lang="nl-NL" sz="1600" b="1" i="1" spc="9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58268">
            <a:off x="4082781" y="1142918"/>
            <a:ext cx="5291636" cy="5820351"/>
          </a:xfrm>
          <a:prstGeom prst="rect">
            <a:avLst/>
          </a:prstGeom>
          <a:effectLst>
            <a:outerShdw blurRad="50800" dist="63500" dir="8520000" algn="tl" rotWithShape="0">
              <a:srgbClr val="000000">
                <a:alpha val="25000"/>
              </a:srgbClr>
            </a:outerShdw>
          </a:effectLst>
        </p:spPr>
      </p:pic>
      <p:sp>
        <p:nvSpPr>
          <p:cNvPr id="6" name="Tekstvak 5"/>
          <p:cNvSpPr txBox="1"/>
          <p:nvPr/>
        </p:nvSpPr>
        <p:spPr>
          <a:xfrm rot="607905">
            <a:off x="7432114" y="2095639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</a:t>
            </a:r>
          </a:p>
        </p:txBody>
      </p:sp>
      <p:sp>
        <p:nvSpPr>
          <p:cNvPr id="27" name="Tekstvak 26"/>
          <p:cNvSpPr txBox="1"/>
          <p:nvPr/>
        </p:nvSpPr>
        <p:spPr>
          <a:xfrm rot="607905">
            <a:off x="7402458" y="2378413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</a:t>
            </a:r>
          </a:p>
        </p:txBody>
      </p:sp>
      <p:sp>
        <p:nvSpPr>
          <p:cNvPr id="28" name="Tekstvak 27"/>
          <p:cNvSpPr txBox="1"/>
          <p:nvPr/>
        </p:nvSpPr>
        <p:spPr>
          <a:xfrm rot="607905">
            <a:off x="7239358" y="3166361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</a:t>
            </a:r>
          </a:p>
        </p:txBody>
      </p:sp>
      <p:sp>
        <p:nvSpPr>
          <p:cNvPr id="29" name="Tekstvak 28"/>
          <p:cNvSpPr txBox="1"/>
          <p:nvPr/>
        </p:nvSpPr>
        <p:spPr>
          <a:xfrm rot="607905">
            <a:off x="7281444" y="2945799"/>
            <a:ext cx="163099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</a:t>
            </a:r>
          </a:p>
        </p:txBody>
      </p:sp>
      <p:sp>
        <p:nvSpPr>
          <p:cNvPr id="30" name="Tekstvak 29"/>
          <p:cNvSpPr txBox="1"/>
          <p:nvPr/>
        </p:nvSpPr>
        <p:spPr>
          <a:xfrm rot="607905">
            <a:off x="8149847" y="3604303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//////////</a:t>
            </a:r>
          </a:p>
        </p:txBody>
      </p:sp>
      <p:sp>
        <p:nvSpPr>
          <p:cNvPr id="31" name="Tekstvak 30"/>
          <p:cNvSpPr txBox="1"/>
          <p:nvPr/>
        </p:nvSpPr>
        <p:spPr>
          <a:xfrm rot="605103">
            <a:off x="7183400" y="3510953"/>
            <a:ext cx="190097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</a:t>
            </a:r>
          </a:p>
        </p:txBody>
      </p:sp>
      <p:sp>
        <p:nvSpPr>
          <p:cNvPr id="32" name="Tekstvak 31"/>
          <p:cNvSpPr txBox="1"/>
          <p:nvPr/>
        </p:nvSpPr>
        <p:spPr>
          <a:xfrm rot="607905">
            <a:off x="7139447" y="4060137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</a:t>
            </a:r>
          </a:p>
        </p:txBody>
      </p:sp>
      <p:sp>
        <p:nvSpPr>
          <p:cNvPr id="33" name="Tekstvak 32"/>
          <p:cNvSpPr txBox="1"/>
          <p:nvPr/>
        </p:nvSpPr>
        <p:spPr>
          <a:xfrm rot="607905">
            <a:off x="7984473" y="4212399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/////////</a:t>
            </a:r>
          </a:p>
        </p:txBody>
      </p:sp>
      <p:sp>
        <p:nvSpPr>
          <p:cNvPr id="34" name="Tekstvak 33"/>
          <p:cNvSpPr txBox="1"/>
          <p:nvPr/>
        </p:nvSpPr>
        <p:spPr>
          <a:xfrm rot="607905">
            <a:off x="6981719" y="4854638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</a:t>
            </a:r>
          </a:p>
        </p:txBody>
      </p:sp>
      <p:sp>
        <p:nvSpPr>
          <p:cNvPr id="35" name="Tekstvak 34"/>
          <p:cNvSpPr txBox="1"/>
          <p:nvPr/>
        </p:nvSpPr>
        <p:spPr>
          <a:xfrm rot="607905">
            <a:off x="7883081" y="4722995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/////////</a:t>
            </a:r>
          </a:p>
        </p:txBody>
      </p:sp>
      <p:sp>
        <p:nvSpPr>
          <p:cNvPr id="37" name="Tekstvak 36"/>
          <p:cNvSpPr txBox="1"/>
          <p:nvPr/>
        </p:nvSpPr>
        <p:spPr>
          <a:xfrm rot="607905">
            <a:off x="5246006" y="4564137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</a:t>
            </a:r>
          </a:p>
        </p:txBody>
      </p:sp>
      <p:sp>
        <p:nvSpPr>
          <p:cNvPr id="38" name="Tekstvak 37"/>
          <p:cNvSpPr txBox="1"/>
          <p:nvPr/>
        </p:nvSpPr>
        <p:spPr>
          <a:xfrm rot="607905">
            <a:off x="6051002" y="5020012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</a:t>
            </a:r>
          </a:p>
        </p:txBody>
      </p:sp>
      <p:sp>
        <p:nvSpPr>
          <p:cNvPr id="39" name="Tekstvak 38"/>
          <p:cNvSpPr txBox="1"/>
          <p:nvPr/>
        </p:nvSpPr>
        <p:spPr>
          <a:xfrm rot="607905">
            <a:off x="7744063" y="5319758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</a:t>
            </a:r>
          </a:p>
        </p:txBody>
      </p:sp>
      <p:sp>
        <p:nvSpPr>
          <p:cNvPr id="40" name="Tekstvak 39"/>
          <p:cNvSpPr txBox="1"/>
          <p:nvPr/>
        </p:nvSpPr>
        <p:spPr>
          <a:xfrm rot="607905">
            <a:off x="5138929" y="5245607"/>
            <a:ext cx="200446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</a:t>
            </a:r>
          </a:p>
        </p:txBody>
      </p:sp>
      <p:sp>
        <p:nvSpPr>
          <p:cNvPr id="41" name="Tekstvak 40"/>
          <p:cNvSpPr txBox="1"/>
          <p:nvPr/>
        </p:nvSpPr>
        <p:spPr>
          <a:xfrm rot="607905">
            <a:off x="5084027" y="5460687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</a:t>
            </a:r>
          </a:p>
        </p:txBody>
      </p:sp>
      <p:sp>
        <p:nvSpPr>
          <p:cNvPr id="42" name="Tekstvak 41"/>
          <p:cNvSpPr txBox="1"/>
          <p:nvPr/>
        </p:nvSpPr>
        <p:spPr>
          <a:xfrm rot="607905">
            <a:off x="6827613" y="5732439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//</a:t>
            </a:r>
          </a:p>
        </p:txBody>
      </p:sp>
      <p:sp>
        <p:nvSpPr>
          <p:cNvPr id="43" name="Tekstvak 42"/>
          <p:cNvSpPr txBox="1"/>
          <p:nvPr/>
        </p:nvSpPr>
        <p:spPr>
          <a:xfrm rot="607905">
            <a:off x="7326053" y="2673789"/>
            <a:ext cx="1341967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700" dirty="0" smtClean="0">
                <a:solidFill>
                  <a:schemeClr val="bg1">
                    <a:lumMod val="75000"/>
                  </a:schemeClr>
                </a:solidFill>
              </a:rPr>
              <a:t>////////////////////////////</a:t>
            </a:r>
          </a:p>
        </p:txBody>
      </p:sp>
      <p:sp>
        <p:nvSpPr>
          <p:cNvPr id="3" name="Rechthoek 2"/>
          <p:cNvSpPr/>
          <p:nvPr/>
        </p:nvSpPr>
        <p:spPr>
          <a:xfrm>
            <a:off x="174794" y="6532608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Praktijkleerstoel Gebiedsontwikkeling</a:t>
            </a:r>
            <a:endParaRPr lang="nl-NL" sz="1100" b="1" dirty="0"/>
          </a:p>
        </p:txBody>
      </p:sp>
      <p:sp>
        <p:nvSpPr>
          <p:cNvPr id="7" name="Tekstvak 6"/>
          <p:cNvSpPr txBox="1"/>
          <p:nvPr/>
        </p:nvSpPr>
        <p:spPr>
          <a:xfrm>
            <a:off x="374904" y="3345345"/>
            <a:ext cx="292608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000" dirty="0"/>
              <a:t>p</a:t>
            </a:r>
            <a:r>
              <a:rPr lang="nl-NL" sz="2000" dirty="0" smtClean="0"/>
              <a:t>roces-apen zonder inhoudelijke kennis zijn kansloos</a:t>
            </a:r>
          </a:p>
        </p:txBody>
      </p:sp>
    </p:spTree>
    <p:extLst>
      <p:ext uri="{BB962C8B-B14F-4D97-AF65-F5344CB8AC3E}">
        <p14:creationId xmlns:p14="http://schemas.microsoft.com/office/powerpoint/2010/main" val="191342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Afbeelding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0429" y="716643"/>
            <a:ext cx="6020309" cy="5577131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30000"/>
              </a:srgbClr>
            </a:outerShdw>
          </a:effectLst>
        </p:spPr>
      </p:pic>
      <p:sp>
        <p:nvSpPr>
          <p:cNvPr id="157" name="object 6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0"/>
                </a:move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58" name="object 7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1662836"/>
                </a:move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59" name="object 8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0" name="object 9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1" name="object 10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2" name="object 11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3" name="object 12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4" name="object 13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0" name="object 32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7EFBB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1" name="object 33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2" name="object 34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3" name="object 35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4" name="object 36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5" name="object 37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97" name="object 16"/>
          <p:cNvSpPr txBox="1"/>
          <p:nvPr/>
        </p:nvSpPr>
        <p:spPr>
          <a:xfrm>
            <a:off x="174794" y="1915797"/>
            <a:ext cx="990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STAD &amp; REGIO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8" name="object 16"/>
          <p:cNvSpPr txBox="1"/>
          <p:nvPr/>
        </p:nvSpPr>
        <p:spPr>
          <a:xfrm>
            <a:off x="1165394" y="1915797"/>
            <a:ext cx="5334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GEBIED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9" name="object 16"/>
          <p:cNvSpPr txBox="1"/>
          <p:nvPr/>
        </p:nvSpPr>
        <p:spPr>
          <a:xfrm>
            <a:off x="1698794" y="1823464"/>
            <a:ext cx="609600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PROJECT</a:t>
            </a:r>
          </a:p>
          <a:p>
            <a:pPr marL="12700" algn="ctr">
              <a:lnSpc>
                <a:spcPct val="100000"/>
              </a:lnSpc>
            </a:pPr>
            <a:r>
              <a:rPr lang="nl-NL" sz="5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OF</a:t>
            </a:r>
          </a:p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KAVELS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00" name="object 16"/>
          <p:cNvSpPr txBox="1"/>
          <p:nvPr/>
        </p:nvSpPr>
        <p:spPr>
          <a:xfrm>
            <a:off x="2308394" y="1915797"/>
            <a:ext cx="609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REALISATIE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207963"/>
            <a:ext cx="8542338" cy="461665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>
                <a:cs typeface="Arial"/>
              </a:rPr>
              <a:t>sturing </a:t>
            </a:r>
            <a:r>
              <a:rPr lang="nl-NL" spc="90" dirty="0" smtClean="0">
                <a:cs typeface="Arial"/>
              </a:rPr>
              <a:t>gebiedsontwikkeling:</a:t>
            </a:r>
            <a:endParaRPr lang="nl-NL" spc="90" dirty="0">
              <a:cs typeface="Arial"/>
            </a:endParaRPr>
          </a:p>
        </p:txBody>
      </p:sp>
      <p:sp>
        <p:nvSpPr>
          <p:cNvPr id="24" name="Tekstvak 23"/>
          <p:cNvSpPr txBox="1"/>
          <p:nvPr/>
        </p:nvSpPr>
        <p:spPr>
          <a:xfrm>
            <a:off x="3904233" y="528419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endParaRPr lang="nl-NL" sz="1600" b="1" i="1" spc="90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sp>
        <p:nvSpPr>
          <p:cNvPr id="36" name="Tekstvak 35"/>
          <p:cNvSpPr txBox="1"/>
          <p:nvPr/>
        </p:nvSpPr>
        <p:spPr>
          <a:xfrm>
            <a:off x="3904233" y="511911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nl-NL" sz="1600" b="1" spc="9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2. Ondernemerschap &amp; organisatievermogen</a:t>
            </a:r>
            <a:endParaRPr lang="nl-NL" sz="1600" b="1" i="1" spc="9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</p:txBody>
      </p:sp>
      <p:sp>
        <p:nvSpPr>
          <p:cNvPr id="43" name="object 36"/>
          <p:cNvSpPr txBox="1"/>
          <p:nvPr/>
        </p:nvSpPr>
        <p:spPr>
          <a:xfrm>
            <a:off x="7754640" y="1331288"/>
            <a:ext cx="1841821" cy="4437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wegva</a:t>
            </a:r>
            <a:r>
              <a:rPr sz="1400" i="1" spc="85" dirty="0">
                <a:solidFill>
                  <a:srgbClr val="0084AE"/>
                </a:solidFill>
                <a:latin typeface="Arial"/>
                <a:cs typeface="Arial"/>
              </a:rPr>
              <a:t>l</a:t>
            </a:r>
            <a:r>
              <a:rPr sz="1400" i="1" spc="35" dirty="0">
                <a:solidFill>
                  <a:srgbClr val="0084AE"/>
                </a:solidFill>
                <a:latin typeface="Arial"/>
                <a:cs typeface="Arial"/>
              </a:rPr>
              <a:t>l</a:t>
            </a: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en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ts val="1800"/>
              </a:lnSpc>
            </a:pP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m</a:t>
            </a:r>
            <a:r>
              <a:rPr sz="1400" i="1" spc="15" dirty="0">
                <a:solidFill>
                  <a:srgbClr val="0084AE"/>
                </a:solidFill>
                <a:latin typeface="Arial"/>
                <a:cs typeface="Arial"/>
              </a:rPr>
              <a:t>a</a:t>
            </a: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rktsegme</a:t>
            </a:r>
            <a:r>
              <a:rPr sz="1400" i="1" spc="15" dirty="0">
                <a:solidFill>
                  <a:srgbClr val="0084AE"/>
                </a:solidFill>
                <a:latin typeface="Arial"/>
                <a:cs typeface="Arial"/>
              </a:rPr>
              <a:t>n</a:t>
            </a:r>
            <a:r>
              <a:rPr sz="1400" i="1" dirty="0">
                <a:solidFill>
                  <a:srgbClr val="0084AE"/>
                </a:solidFill>
                <a:latin typeface="Arial"/>
                <a:cs typeface="Arial"/>
              </a:rPr>
              <a:t>t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4" name="object 36"/>
          <p:cNvSpPr txBox="1"/>
          <p:nvPr/>
        </p:nvSpPr>
        <p:spPr>
          <a:xfrm>
            <a:off x="7637617" y="5330309"/>
            <a:ext cx="184182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staatssteun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5" name="object 36"/>
          <p:cNvSpPr txBox="1"/>
          <p:nvPr/>
        </p:nvSpPr>
        <p:spPr>
          <a:xfrm>
            <a:off x="3087688" y="1161943"/>
            <a:ext cx="184182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>
                <a:solidFill>
                  <a:srgbClr val="0084AE"/>
                </a:solidFill>
                <a:latin typeface="Arial"/>
                <a:cs typeface="Arial"/>
              </a:rPr>
              <a:t>w</a:t>
            </a: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ethouders-</a:t>
            </a:r>
          </a:p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wisseling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6" name="Rechthoek 45"/>
          <p:cNvSpPr/>
          <p:nvPr/>
        </p:nvSpPr>
        <p:spPr>
          <a:xfrm>
            <a:off x="3809269" y="2585837"/>
            <a:ext cx="3686595" cy="1971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700" i="1" dirty="0" smtClean="0">
                <a:latin typeface="Arial"/>
                <a:cs typeface="Arial"/>
              </a:rPr>
              <a:t>Context blijft onrustig</a:t>
            </a:r>
          </a:p>
          <a:p>
            <a:pPr>
              <a:lnSpc>
                <a:spcPts val="750"/>
              </a:lnSpc>
              <a:spcBef>
                <a:spcPts val="19"/>
              </a:spcBef>
            </a:pPr>
            <a:endParaRPr lang="nl-NL" sz="750" dirty="0" smtClean="0"/>
          </a:p>
          <a:p>
            <a:pPr marL="145415" indent="-13335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eig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in</a:t>
            </a:r>
            <a:r>
              <a:rPr lang="nl-NL" sz="1400" spc="65" dirty="0" smtClean="0">
                <a:solidFill>
                  <a:srgbClr val="231F20"/>
                </a:solidFill>
                <a:latin typeface="Arial"/>
                <a:cs typeface="Arial"/>
              </a:rPr>
              <a:t>i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i</a:t>
            </a:r>
            <a:r>
              <a:rPr lang="nl-NL" sz="1400" spc="60" dirty="0" smtClean="0">
                <a:solidFill>
                  <a:srgbClr val="231F20"/>
                </a:solidFill>
                <a:latin typeface="Arial"/>
                <a:cs typeface="Arial"/>
              </a:rPr>
              <a:t>a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i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f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10" dirty="0" smtClean="0">
                <a:solidFill>
                  <a:srgbClr val="231F20"/>
                </a:solidFill>
                <a:latin typeface="Arial"/>
                <a:cs typeface="Arial"/>
              </a:rPr>
              <a:t>&amp;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actie</a:t>
            </a:r>
          </a:p>
          <a:p>
            <a:pPr marL="12065">
              <a:lnSpc>
                <a:spcPts val="700"/>
              </a:lnSpc>
              <a:buClr>
                <a:srgbClr val="231F20"/>
              </a:buClr>
              <a:tabLst>
                <a:tab pos="161925" algn="l"/>
              </a:tabLst>
            </a:pPr>
            <a:endParaRPr lang="nl-NL" sz="1400" dirty="0" smtClean="0">
              <a:latin typeface="Arial"/>
              <a:cs typeface="Arial"/>
            </a:endParaRPr>
          </a:p>
          <a:p>
            <a:pPr marL="161925" indent="-14986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i</a:t>
            </a:r>
            <a:r>
              <a:rPr lang="nl-NL" sz="1400" spc="65" dirty="0" smtClean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e</a:t>
            </a:r>
            <a:r>
              <a:rPr lang="nl-NL" sz="1400" spc="55" dirty="0" smtClean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acti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met</a:t>
            </a:r>
            <a:r>
              <a:rPr lang="nl-NL" sz="1400" dirty="0" smtClean="0"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pa</a:t>
            </a:r>
            <a:r>
              <a:rPr lang="nl-NL" sz="1400" spc="90" dirty="0" smtClean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ner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s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10" dirty="0" smtClean="0">
                <a:solidFill>
                  <a:srgbClr val="231F20"/>
                </a:solidFill>
                <a:latin typeface="Arial"/>
                <a:cs typeface="Arial"/>
              </a:rPr>
              <a:t>&amp;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5" dirty="0" smtClean="0">
                <a:solidFill>
                  <a:srgbClr val="231F20"/>
                </a:solidFill>
                <a:latin typeface="Arial"/>
                <a:cs typeface="Arial"/>
              </a:rPr>
              <a:t>omg</a:t>
            </a:r>
            <a:r>
              <a:rPr lang="nl-NL" sz="1400" spc="45" dirty="0" smtClean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ving</a:t>
            </a:r>
          </a:p>
          <a:p>
            <a:pPr marL="12065">
              <a:lnSpc>
                <a:spcPts val="700"/>
              </a:lnSpc>
              <a:buClr>
                <a:srgbClr val="231F20"/>
              </a:buClr>
              <a:tabLst>
                <a:tab pos="161925" algn="l"/>
              </a:tabLst>
            </a:pPr>
            <a:endParaRPr lang="nl-NL" sz="1400" dirty="0" smtClean="0">
              <a:latin typeface="Arial"/>
              <a:cs typeface="Arial"/>
            </a:endParaRPr>
          </a:p>
          <a:p>
            <a:pPr marL="151765" indent="-13970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51765" algn="l"/>
              </a:tabLst>
            </a:pPr>
            <a:r>
              <a:rPr lang="nl-NL" sz="1400" spc="75" dirty="0" smtClean="0">
                <a:solidFill>
                  <a:srgbClr val="231F20"/>
                </a:solidFill>
                <a:latin typeface="Arial"/>
                <a:cs typeface="Arial"/>
              </a:rPr>
              <a:t>‘j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5" dirty="0" smtClean="0">
                <a:solidFill>
                  <a:srgbClr val="231F20"/>
                </a:solidFill>
                <a:latin typeface="Arial"/>
                <a:cs typeface="Arial"/>
              </a:rPr>
              <a:t>mo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t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iet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s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5" dirty="0" smtClean="0">
                <a:solidFill>
                  <a:srgbClr val="231F20"/>
                </a:solidFill>
                <a:latin typeface="Arial"/>
                <a:cs typeface="Arial"/>
              </a:rPr>
              <a:t>m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t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elkaa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wil</a:t>
            </a:r>
            <a:r>
              <a:rPr lang="nl-NL" sz="1400" spc="65" dirty="0" smtClean="0">
                <a:solidFill>
                  <a:srgbClr val="231F20"/>
                </a:solidFill>
                <a:latin typeface="Arial"/>
                <a:cs typeface="Arial"/>
              </a:rPr>
              <a:t>l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en’</a:t>
            </a:r>
          </a:p>
          <a:p>
            <a:pPr marL="12065">
              <a:lnSpc>
                <a:spcPts val="700"/>
              </a:lnSpc>
              <a:buClr>
                <a:srgbClr val="231F20"/>
              </a:buClr>
              <a:tabLst>
                <a:tab pos="151765" algn="l"/>
              </a:tabLst>
            </a:pPr>
            <a:endParaRPr lang="nl-NL" sz="1400" dirty="0" smtClean="0">
              <a:latin typeface="Arial"/>
              <a:cs typeface="Arial"/>
            </a:endParaRPr>
          </a:p>
          <a:p>
            <a:pPr marL="145415" marR="614680" indent="-13335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inspe</a:t>
            </a:r>
            <a:r>
              <a:rPr lang="nl-NL" sz="1400" spc="65" dirty="0" smtClean="0">
                <a:solidFill>
                  <a:srgbClr val="231F20"/>
                </a:solidFill>
                <a:latin typeface="Arial"/>
                <a:cs typeface="Arial"/>
              </a:rPr>
              <a:t>l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o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p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o</a:t>
            </a:r>
            <a:r>
              <a:rPr lang="nl-NL" sz="1400" spc="10" dirty="0" smtClean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lang="nl-NL" sz="1400" spc="50" dirty="0" smtClean="0">
                <a:solidFill>
                  <a:srgbClr val="231F20"/>
                </a:solidFill>
                <a:latin typeface="Arial"/>
                <a:cs typeface="Arial"/>
              </a:rPr>
              <a:t>v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er</a:t>
            </a:r>
            <a:r>
              <a:rPr lang="nl-NL" sz="1400" spc="45" dirty="0" smtClean="0">
                <a:solidFill>
                  <a:srgbClr val="231F20"/>
                </a:solidFill>
                <a:latin typeface="Arial"/>
                <a:cs typeface="Arial"/>
              </a:rPr>
              <a:t>w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ac</a:t>
            </a:r>
            <a:r>
              <a:rPr lang="nl-NL" sz="1400" spc="65" dirty="0" smtClean="0">
                <a:solidFill>
                  <a:srgbClr val="231F20"/>
                </a:solidFill>
                <a:latin typeface="Arial"/>
                <a:cs typeface="Arial"/>
              </a:rPr>
              <a:t>h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e gebeu</a:t>
            </a:r>
            <a:r>
              <a:rPr lang="nl-NL" sz="1400" spc="90" dirty="0" smtClean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eniss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lang="nl-NL" sz="1400" spc="5" dirty="0" smtClean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lang="nl-NL" sz="1400" spc="16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to</a:t>
            </a:r>
            <a:r>
              <a:rPr lang="nl-NL" sz="1400" spc="45" dirty="0" smtClean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lang="nl-NL" sz="1400" spc="40" dirty="0" smtClean="0">
                <a:solidFill>
                  <a:srgbClr val="231F20"/>
                </a:solidFill>
                <a:latin typeface="Arial"/>
                <a:cs typeface="Arial"/>
              </a:rPr>
              <a:t>v</a:t>
            </a:r>
            <a:r>
              <a:rPr lang="nl-NL" sz="1400" spc="80" dirty="0" smtClean="0">
                <a:solidFill>
                  <a:srgbClr val="231F20"/>
                </a:solidFill>
                <a:latin typeface="Arial"/>
                <a:cs typeface="Arial"/>
              </a:rPr>
              <a:t>al</a:t>
            </a:r>
          </a:p>
          <a:p>
            <a:pPr marL="12065" marR="614680">
              <a:lnSpc>
                <a:spcPts val="700"/>
              </a:lnSpc>
              <a:buClr>
                <a:srgbClr val="231F20"/>
              </a:buClr>
              <a:tabLst>
                <a:tab pos="161925" algn="l"/>
              </a:tabLst>
            </a:pPr>
            <a:endParaRPr lang="nl-NL" sz="1400" dirty="0" smtClean="0">
              <a:latin typeface="Arial"/>
              <a:cs typeface="Arial"/>
            </a:endParaRPr>
          </a:p>
        </p:txBody>
      </p:sp>
      <p:sp>
        <p:nvSpPr>
          <p:cNvPr id="47" name="object 36"/>
          <p:cNvSpPr txBox="1"/>
          <p:nvPr/>
        </p:nvSpPr>
        <p:spPr>
          <a:xfrm>
            <a:off x="2599872" y="5738167"/>
            <a:ext cx="19812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>
                <a:solidFill>
                  <a:srgbClr val="0084AE"/>
                </a:solidFill>
                <a:latin typeface="Arial"/>
                <a:cs typeface="Arial"/>
              </a:rPr>
              <a:t>c</a:t>
            </a: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orporatie stopt</a:t>
            </a:r>
            <a:endParaRPr sz="1400" dirty="0">
              <a:latin typeface="Arial"/>
              <a:cs typeface="Arial"/>
            </a:endParaRPr>
          </a:p>
        </p:txBody>
      </p:sp>
      <p:pic>
        <p:nvPicPr>
          <p:cNvPr id="30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87" y="5738435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170604" y="6443783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Praktijkleerstoel Gebiedsontwikkeling</a:t>
            </a:r>
            <a:endParaRPr lang="nl-NL" sz="1100" b="1" dirty="0"/>
          </a:p>
        </p:txBody>
      </p:sp>
    </p:spTree>
    <p:extLst>
      <p:ext uri="{BB962C8B-B14F-4D97-AF65-F5344CB8AC3E}">
        <p14:creationId xmlns:p14="http://schemas.microsoft.com/office/powerpoint/2010/main" val="307714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Afbeelding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932" y="961560"/>
            <a:ext cx="6020308" cy="5577131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30000"/>
              </a:srgbClr>
            </a:outerShdw>
          </a:effectLst>
        </p:spPr>
      </p:pic>
      <p:sp>
        <p:nvSpPr>
          <p:cNvPr id="157" name="object 6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0"/>
                </a:move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58" name="object 7"/>
          <p:cNvSpPr/>
          <p:nvPr/>
        </p:nvSpPr>
        <p:spPr>
          <a:xfrm>
            <a:off x="212594" y="1102573"/>
            <a:ext cx="2745613" cy="1662836"/>
          </a:xfrm>
          <a:custGeom>
            <a:avLst/>
            <a:gdLst/>
            <a:ahLst/>
            <a:cxnLst/>
            <a:rect l="l" t="t" r="r" b="b"/>
            <a:pathLst>
              <a:path w="2745613" h="1662836">
                <a:moveTo>
                  <a:pt x="1372806" y="1662836"/>
                </a:moveTo>
                <a:lnTo>
                  <a:pt x="1485397" y="1660080"/>
                </a:lnTo>
                <a:lnTo>
                  <a:pt x="1595482" y="1651954"/>
                </a:lnTo>
                <a:lnTo>
                  <a:pt x="1702706" y="1638673"/>
                </a:lnTo>
                <a:lnTo>
                  <a:pt x="1806718" y="1620450"/>
                </a:lnTo>
                <a:lnTo>
                  <a:pt x="1907163" y="1597499"/>
                </a:lnTo>
                <a:lnTo>
                  <a:pt x="2003688" y="1570035"/>
                </a:lnTo>
                <a:lnTo>
                  <a:pt x="2095941" y="1538271"/>
                </a:lnTo>
                <a:lnTo>
                  <a:pt x="2183566" y="1502421"/>
                </a:lnTo>
                <a:lnTo>
                  <a:pt x="2266213" y="1462699"/>
                </a:lnTo>
                <a:lnTo>
                  <a:pt x="2343526" y="1419320"/>
                </a:lnTo>
                <a:lnTo>
                  <a:pt x="2415153" y="1372496"/>
                </a:lnTo>
                <a:lnTo>
                  <a:pt x="2480740" y="1322443"/>
                </a:lnTo>
                <a:lnTo>
                  <a:pt x="2539934" y="1269374"/>
                </a:lnTo>
                <a:lnTo>
                  <a:pt x="2592382" y="1213503"/>
                </a:lnTo>
                <a:lnTo>
                  <a:pt x="2637730" y="1155044"/>
                </a:lnTo>
                <a:lnTo>
                  <a:pt x="2675626" y="1094211"/>
                </a:lnTo>
                <a:lnTo>
                  <a:pt x="2705715" y="1031218"/>
                </a:lnTo>
                <a:lnTo>
                  <a:pt x="2727645" y="966278"/>
                </a:lnTo>
                <a:lnTo>
                  <a:pt x="2741062" y="899607"/>
                </a:lnTo>
                <a:lnTo>
                  <a:pt x="2745613" y="831418"/>
                </a:lnTo>
                <a:lnTo>
                  <a:pt x="2741062" y="763228"/>
                </a:lnTo>
                <a:lnTo>
                  <a:pt x="2727645" y="696557"/>
                </a:lnTo>
                <a:lnTo>
                  <a:pt x="2705715" y="631618"/>
                </a:lnTo>
                <a:lnTo>
                  <a:pt x="2675626" y="568625"/>
                </a:lnTo>
                <a:lnTo>
                  <a:pt x="2637730" y="507792"/>
                </a:lnTo>
                <a:lnTo>
                  <a:pt x="2592382" y="449332"/>
                </a:lnTo>
                <a:lnTo>
                  <a:pt x="2539934" y="393461"/>
                </a:lnTo>
                <a:lnTo>
                  <a:pt x="2480740" y="340392"/>
                </a:lnTo>
                <a:lnTo>
                  <a:pt x="2415153" y="290339"/>
                </a:lnTo>
                <a:lnTo>
                  <a:pt x="2343526" y="243516"/>
                </a:lnTo>
                <a:lnTo>
                  <a:pt x="2266213" y="200136"/>
                </a:lnTo>
                <a:lnTo>
                  <a:pt x="2183566" y="160415"/>
                </a:lnTo>
                <a:lnTo>
                  <a:pt x="2095941" y="124565"/>
                </a:lnTo>
                <a:lnTo>
                  <a:pt x="2003688" y="92801"/>
                </a:lnTo>
                <a:lnTo>
                  <a:pt x="1907163" y="65336"/>
                </a:lnTo>
                <a:lnTo>
                  <a:pt x="1806718" y="42386"/>
                </a:lnTo>
                <a:lnTo>
                  <a:pt x="1702706" y="24163"/>
                </a:lnTo>
                <a:lnTo>
                  <a:pt x="1595482" y="10881"/>
                </a:lnTo>
                <a:lnTo>
                  <a:pt x="1485397" y="2756"/>
                </a:lnTo>
                <a:lnTo>
                  <a:pt x="1372806" y="0"/>
                </a:lnTo>
                <a:lnTo>
                  <a:pt x="1260215" y="2756"/>
                </a:lnTo>
                <a:lnTo>
                  <a:pt x="1150130" y="10881"/>
                </a:lnTo>
                <a:lnTo>
                  <a:pt x="1042906" y="24163"/>
                </a:lnTo>
                <a:lnTo>
                  <a:pt x="938894" y="42386"/>
                </a:lnTo>
                <a:lnTo>
                  <a:pt x="838449" y="65336"/>
                </a:lnTo>
                <a:lnTo>
                  <a:pt x="741924" y="92801"/>
                </a:lnTo>
                <a:lnTo>
                  <a:pt x="649671" y="124565"/>
                </a:lnTo>
                <a:lnTo>
                  <a:pt x="562046" y="160415"/>
                </a:lnTo>
                <a:lnTo>
                  <a:pt x="479399" y="200136"/>
                </a:lnTo>
                <a:lnTo>
                  <a:pt x="402086" y="243516"/>
                </a:lnTo>
                <a:lnTo>
                  <a:pt x="330459" y="290339"/>
                </a:lnTo>
                <a:lnTo>
                  <a:pt x="264872" y="340392"/>
                </a:lnTo>
                <a:lnTo>
                  <a:pt x="205678" y="393461"/>
                </a:lnTo>
                <a:lnTo>
                  <a:pt x="153230" y="449332"/>
                </a:lnTo>
                <a:lnTo>
                  <a:pt x="107882" y="507792"/>
                </a:lnTo>
                <a:lnTo>
                  <a:pt x="69986" y="568625"/>
                </a:lnTo>
                <a:lnTo>
                  <a:pt x="39897" y="631618"/>
                </a:lnTo>
                <a:lnTo>
                  <a:pt x="17967" y="696557"/>
                </a:lnTo>
                <a:lnTo>
                  <a:pt x="4550" y="763228"/>
                </a:lnTo>
                <a:lnTo>
                  <a:pt x="0" y="831418"/>
                </a:lnTo>
                <a:lnTo>
                  <a:pt x="4550" y="899607"/>
                </a:lnTo>
                <a:lnTo>
                  <a:pt x="17967" y="966278"/>
                </a:lnTo>
                <a:lnTo>
                  <a:pt x="39897" y="1031218"/>
                </a:lnTo>
                <a:lnTo>
                  <a:pt x="69986" y="1094211"/>
                </a:lnTo>
                <a:lnTo>
                  <a:pt x="107882" y="1155044"/>
                </a:lnTo>
                <a:lnTo>
                  <a:pt x="153230" y="1213503"/>
                </a:lnTo>
                <a:lnTo>
                  <a:pt x="205678" y="1269374"/>
                </a:lnTo>
                <a:lnTo>
                  <a:pt x="264872" y="1322443"/>
                </a:lnTo>
                <a:lnTo>
                  <a:pt x="330459" y="1372496"/>
                </a:lnTo>
                <a:lnTo>
                  <a:pt x="402086" y="1419320"/>
                </a:lnTo>
                <a:lnTo>
                  <a:pt x="479399" y="1462699"/>
                </a:lnTo>
                <a:lnTo>
                  <a:pt x="562046" y="1502421"/>
                </a:lnTo>
                <a:lnTo>
                  <a:pt x="649671" y="1538271"/>
                </a:lnTo>
                <a:lnTo>
                  <a:pt x="741924" y="1570035"/>
                </a:lnTo>
                <a:lnTo>
                  <a:pt x="838449" y="1597499"/>
                </a:lnTo>
                <a:lnTo>
                  <a:pt x="938894" y="1620450"/>
                </a:lnTo>
                <a:lnTo>
                  <a:pt x="1042906" y="1638673"/>
                </a:lnTo>
                <a:lnTo>
                  <a:pt x="1150130" y="1651954"/>
                </a:lnTo>
                <a:lnTo>
                  <a:pt x="1260215" y="1660080"/>
                </a:lnTo>
                <a:lnTo>
                  <a:pt x="1372806" y="1662836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59" name="object 8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0" name="object 9"/>
          <p:cNvSpPr/>
          <p:nvPr/>
        </p:nvSpPr>
        <p:spPr>
          <a:xfrm>
            <a:off x="1183599" y="1304670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1" name="object 10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2" name="object 11"/>
          <p:cNvSpPr/>
          <p:nvPr/>
        </p:nvSpPr>
        <p:spPr>
          <a:xfrm>
            <a:off x="1697508" y="1455322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3" name="object 12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64" name="object 13"/>
          <p:cNvSpPr/>
          <p:nvPr/>
        </p:nvSpPr>
        <p:spPr>
          <a:xfrm>
            <a:off x="2271340" y="1589879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0" name="object 32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0"/>
                </a:move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close/>
              </a:path>
            </a:pathLst>
          </a:custGeom>
          <a:solidFill>
            <a:srgbClr val="E7EFBB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1" name="object 33"/>
          <p:cNvSpPr/>
          <p:nvPr/>
        </p:nvSpPr>
        <p:spPr>
          <a:xfrm>
            <a:off x="1184587" y="1306924"/>
            <a:ext cx="1773351" cy="1253909"/>
          </a:xfrm>
          <a:custGeom>
            <a:avLst/>
            <a:gdLst/>
            <a:ahLst/>
            <a:cxnLst/>
            <a:rect l="l" t="t" r="r" b="b"/>
            <a:pathLst>
              <a:path w="1773351" h="1253909">
                <a:moveTo>
                  <a:pt x="886675" y="1253909"/>
                </a:moveTo>
                <a:lnTo>
                  <a:pt x="959397" y="1251830"/>
                </a:lnTo>
                <a:lnTo>
                  <a:pt x="1030499" y="1245703"/>
                </a:lnTo>
                <a:lnTo>
                  <a:pt x="1099754" y="1235688"/>
                </a:lnTo>
                <a:lnTo>
                  <a:pt x="1166934" y="1221946"/>
                </a:lnTo>
                <a:lnTo>
                  <a:pt x="1231810" y="1204640"/>
                </a:lnTo>
                <a:lnTo>
                  <a:pt x="1294155" y="1183930"/>
                </a:lnTo>
                <a:lnTo>
                  <a:pt x="1353739" y="1159977"/>
                </a:lnTo>
                <a:lnTo>
                  <a:pt x="1410335" y="1132944"/>
                </a:lnTo>
                <a:lnTo>
                  <a:pt x="1463715" y="1102991"/>
                </a:lnTo>
                <a:lnTo>
                  <a:pt x="1513651" y="1070279"/>
                </a:lnTo>
                <a:lnTo>
                  <a:pt x="1559913" y="1034971"/>
                </a:lnTo>
                <a:lnTo>
                  <a:pt x="1602275" y="997227"/>
                </a:lnTo>
                <a:lnTo>
                  <a:pt x="1640507" y="957209"/>
                </a:lnTo>
                <a:lnTo>
                  <a:pt x="1674382" y="915079"/>
                </a:lnTo>
                <a:lnTo>
                  <a:pt x="1703672" y="870996"/>
                </a:lnTo>
                <a:lnTo>
                  <a:pt x="1728148" y="825124"/>
                </a:lnTo>
                <a:lnTo>
                  <a:pt x="1747582" y="777623"/>
                </a:lnTo>
                <a:lnTo>
                  <a:pt x="1761746" y="728654"/>
                </a:lnTo>
                <a:lnTo>
                  <a:pt x="1770412" y="678380"/>
                </a:lnTo>
                <a:lnTo>
                  <a:pt x="1773351" y="626960"/>
                </a:lnTo>
                <a:lnTo>
                  <a:pt x="1770412" y="575539"/>
                </a:lnTo>
                <a:lnTo>
                  <a:pt x="1761746" y="525263"/>
                </a:lnTo>
                <a:lnTo>
                  <a:pt x="1747582" y="476293"/>
                </a:lnTo>
                <a:lnTo>
                  <a:pt x="1728148" y="428791"/>
                </a:lnTo>
                <a:lnTo>
                  <a:pt x="1703672" y="382917"/>
                </a:lnTo>
                <a:lnTo>
                  <a:pt x="1674382" y="338834"/>
                </a:lnTo>
                <a:lnTo>
                  <a:pt x="1640507" y="296702"/>
                </a:lnTo>
                <a:lnTo>
                  <a:pt x="1602275" y="256683"/>
                </a:lnTo>
                <a:lnTo>
                  <a:pt x="1559913" y="218939"/>
                </a:lnTo>
                <a:lnTo>
                  <a:pt x="1513651" y="183630"/>
                </a:lnTo>
                <a:lnTo>
                  <a:pt x="1463715" y="150919"/>
                </a:lnTo>
                <a:lnTo>
                  <a:pt x="1410335" y="120965"/>
                </a:lnTo>
                <a:lnTo>
                  <a:pt x="1353739" y="93932"/>
                </a:lnTo>
                <a:lnTo>
                  <a:pt x="1294155" y="69979"/>
                </a:lnTo>
                <a:lnTo>
                  <a:pt x="1231810" y="49269"/>
                </a:lnTo>
                <a:lnTo>
                  <a:pt x="1166934" y="31962"/>
                </a:lnTo>
                <a:lnTo>
                  <a:pt x="1099754" y="18220"/>
                </a:lnTo>
                <a:lnTo>
                  <a:pt x="1030499" y="8205"/>
                </a:lnTo>
                <a:lnTo>
                  <a:pt x="959397" y="2078"/>
                </a:lnTo>
                <a:lnTo>
                  <a:pt x="886675" y="0"/>
                </a:lnTo>
                <a:lnTo>
                  <a:pt x="813954" y="2078"/>
                </a:lnTo>
                <a:lnTo>
                  <a:pt x="742852" y="8205"/>
                </a:lnTo>
                <a:lnTo>
                  <a:pt x="673596" y="18220"/>
                </a:lnTo>
                <a:lnTo>
                  <a:pt x="606417" y="31962"/>
                </a:lnTo>
                <a:lnTo>
                  <a:pt x="541540" y="49269"/>
                </a:lnTo>
                <a:lnTo>
                  <a:pt x="479196" y="69979"/>
                </a:lnTo>
                <a:lnTo>
                  <a:pt x="419612" y="93932"/>
                </a:lnTo>
                <a:lnTo>
                  <a:pt x="363015" y="120965"/>
                </a:lnTo>
                <a:lnTo>
                  <a:pt x="309636" y="150919"/>
                </a:lnTo>
                <a:lnTo>
                  <a:pt x="259700" y="183630"/>
                </a:lnTo>
                <a:lnTo>
                  <a:pt x="213438" y="218939"/>
                </a:lnTo>
                <a:lnTo>
                  <a:pt x="171076" y="256683"/>
                </a:lnTo>
                <a:lnTo>
                  <a:pt x="132844" y="296702"/>
                </a:lnTo>
                <a:lnTo>
                  <a:pt x="98968" y="338834"/>
                </a:lnTo>
                <a:lnTo>
                  <a:pt x="69679" y="382917"/>
                </a:lnTo>
                <a:lnTo>
                  <a:pt x="45203" y="428791"/>
                </a:lnTo>
                <a:lnTo>
                  <a:pt x="25769" y="476293"/>
                </a:lnTo>
                <a:lnTo>
                  <a:pt x="11605" y="525263"/>
                </a:lnTo>
                <a:lnTo>
                  <a:pt x="2939" y="575539"/>
                </a:lnTo>
                <a:lnTo>
                  <a:pt x="0" y="626960"/>
                </a:lnTo>
                <a:lnTo>
                  <a:pt x="2939" y="678380"/>
                </a:lnTo>
                <a:lnTo>
                  <a:pt x="11605" y="728654"/>
                </a:lnTo>
                <a:lnTo>
                  <a:pt x="25769" y="777623"/>
                </a:lnTo>
                <a:lnTo>
                  <a:pt x="45203" y="825124"/>
                </a:lnTo>
                <a:lnTo>
                  <a:pt x="69679" y="870996"/>
                </a:lnTo>
                <a:lnTo>
                  <a:pt x="98968" y="915079"/>
                </a:lnTo>
                <a:lnTo>
                  <a:pt x="132844" y="957209"/>
                </a:lnTo>
                <a:lnTo>
                  <a:pt x="171076" y="997227"/>
                </a:lnTo>
                <a:lnTo>
                  <a:pt x="213438" y="1034971"/>
                </a:lnTo>
                <a:lnTo>
                  <a:pt x="259700" y="1070279"/>
                </a:lnTo>
                <a:lnTo>
                  <a:pt x="309636" y="1102991"/>
                </a:lnTo>
                <a:lnTo>
                  <a:pt x="363015" y="1132944"/>
                </a:lnTo>
                <a:lnTo>
                  <a:pt x="419612" y="1159977"/>
                </a:lnTo>
                <a:lnTo>
                  <a:pt x="479196" y="1183930"/>
                </a:lnTo>
                <a:lnTo>
                  <a:pt x="541540" y="1204640"/>
                </a:lnTo>
                <a:lnTo>
                  <a:pt x="606417" y="1221946"/>
                </a:lnTo>
                <a:lnTo>
                  <a:pt x="673596" y="1235688"/>
                </a:lnTo>
                <a:lnTo>
                  <a:pt x="742852" y="1245703"/>
                </a:lnTo>
                <a:lnTo>
                  <a:pt x="813954" y="1251830"/>
                </a:lnTo>
                <a:lnTo>
                  <a:pt x="886675" y="1253909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2" name="object 34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0"/>
                </a:move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3" name="object 35"/>
          <p:cNvSpPr/>
          <p:nvPr/>
        </p:nvSpPr>
        <p:spPr>
          <a:xfrm>
            <a:off x="1698498" y="1457576"/>
            <a:ext cx="1261338" cy="957364"/>
          </a:xfrm>
          <a:custGeom>
            <a:avLst/>
            <a:gdLst/>
            <a:ahLst/>
            <a:cxnLst/>
            <a:rect l="l" t="t" r="r" b="b"/>
            <a:pathLst>
              <a:path w="1261338" h="957364">
                <a:moveTo>
                  <a:pt x="630669" y="957364"/>
                </a:moveTo>
                <a:lnTo>
                  <a:pt x="682394" y="955777"/>
                </a:lnTo>
                <a:lnTo>
                  <a:pt x="732967" y="951098"/>
                </a:lnTo>
                <a:lnTo>
                  <a:pt x="782226" y="943452"/>
                </a:lnTo>
                <a:lnTo>
                  <a:pt x="830010" y="932960"/>
                </a:lnTo>
                <a:lnTo>
                  <a:pt x="876154" y="919746"/>
                </a:lnTo>
                <a:lnTo>
                  <a:pt x="920498" y="903934"/>
                </a:lnTo>
                <a:lnTo>
                  <a:pt x="962879" y="885646"/>
                </a:lnTo>
                <a:lnTo>
                  <a:pt x="1003134" y="865006"/>
                </a:lnTo>
                <a:lnTo>
                  <a:pt x="1041102" y="842136"/>
                </a:lnTo>
                <a:lnTo>
                  <a:pt x="1076620" y="817160"/>
                </a:lnTo>
                <a:lnTo>
                  <a:pt x="1109525" y="790202"/>
                </a:lnTo>
                <a:lnTo>
                  <a:pt x="1139656" y="761384"/>
                </a:lnTo>
                <a:lnTo>
                  <a:pt x="1166850" y="730829"/>
                </a:lnTo>
                <a:lnTo>
                  <a:pt x="1190944" y="698662"/>
                </a:lnTo>
                <a:lnTo>
                  <a:pt x="1211777" y="665004"/>
                </a:lnTo>
                <a:lnTo>
                  <a:pt x="1229186" y="629979"/>
                </a:lnTo>
                <a:lnTo>
                  <a:pt x="1243009" y="593711"/>
                </a:lnTo>
                <a:lnTo>
                  <a:pt x="1253084" y="556322"/>
                </a:lnTo>
                <a:lnTo>
                  <a:pt x="1259247" y="517936"/>
                </a:lnTo>
                <a:lnTo>
                  <a:pt x="1261338" y="478675"/>
                </a:lnTo>
                <a:lnTo>
                  <a:pt x="1259247" y="439417"/>
                </a:lnTo>
                <a:lnTo>
                  <a:pt x="1253084" y="401032"/>
                </a:lnTo>
                <a:lnTo>
                  <a:pt x="1243009" y="363645"/>
                </a:lnTo>
                <a:lnTo>
                  <a:pt x="1229186" y="327377"/>
                </a:lnTo>
                <a:lnTo>
                  <a:pt x="1211777" y="292354"/>
                </a:lnTo>
                <a:lnTo>
                  <a:pt x="1190944" y="258697"/>
                </a:lnTo>
                <a:lnTo>
                  <a:pt x="1166850" y="226530"/>
                </a:lnTo>
                <a:lnTo>
                  <a:pt x="1139656" y="195976"/>
                </a:lnTo>
                <a:lnTo>
                  <a:pt x="1109525" y="167159"/>
                </a:lnTo>
                <a:lnTo>
                  <a:pt x="1076620" y="140201"/>
                </a:lnTo>
                <a:lnTo>
                  <a:pt x="1041102" y="115226"/>
                </a:lnTo>
                <a:lnTo>
                  <a:pt x="1003134" y="92357"/>
                </a:lnTo>
                <a:lnTo>
                  <a:pt x="962879" y="71717"/>
                </a:lnTo>
                <a:lnTo>
                  <a:pt x="920498" y="53429"/>
                </a:lnTo>
                <a:lnTo>
                  <a:pt x="876154" y="37617"/>
                </a:lnTo>
                <a:lnTo>
                  <a:pt x="830010" y="24403"/>
                </a:lnTo>
                <a:lnTo>
                  <a:pt x="782226" y="13911"/>
                </a:lnTo>
                <a:lnTo>
                  <a:pt x="732967" y="6265"/>
                </a:lnTo>
                <a:lnTo>
                  <a:pt x="682394" y="1586"/>
                </a:lnTo>
                <a:lnTo>
                  <a:pt x="630669" y="0"/>
                </a:lnTo>
                <a:lnTo>
                  <a:pt x="578944" y="1586"/>
                </a:lnTo>
                <a:lnTo>
                  <a:pt x="528371" y="6265"/>
                </a:lnTo>
                <a:lnTo>
                  <a:pt x="479111" y="13911"/>
                </a:lnTo>
                <a:lnTo>
                  <a:pt x="431328" y="24403"/>
                </a:lnTo>
                <a:lnTo>
                  <a:pt x="385183" y="37617"/>
                </a:lnTo>
                <a:lnTo>
                  <a:pt x="340839" y="53429"/>
                </a:lnTo>
                <a:lnTo>
                  <a:pt x="298459" y="71717"/>
                </a:lnTo>
                <a:lnTo>
                  <a:pt x="258203" y="92357"/>
                </a:lnTo>
                <a:lnTo>
                  <a:pt x="220236" y="115226"/>
                </a:lnTo>
                <a:lnTo>
                  <a:pt x="184718" y="140201"/>
                </a:lnTo>
                <a:lnTo>
                  <a:pt x="151812" y="167159"/>
                </a:lnTo>
                <a:lnTo>
                  <a:pt x="121682" y="195976"/>
                </a:lnTo>
                <a:lnTo>
                  <a:pt x="94488" y="226530"/>
                </a:lnTo>
                <a:lnTo>
                  <a:pt x="70393" y="258697"/>
                </a:lnTo>
                <a:lnTo>
                  <a:pt x="49560" y="292354"/>
                </a:lnTo>
                <a:lnTo>
                  <a:pt x="32151" y="327377"/>
                </a:lnTo>
                <a:lnTo>
                  <a:pt x="18328" y="363645"/>
                </a:lnTo>
                <a:lnTo>
                  <a:pt x="8254" y="401032"/>
                </a:lnTo>
                <a:lnTo>
                  <a:pt x="2090" y="439417"/>
                </a:lnTo>
                <a:lnTo>
                  <a:pt x="0" y="478675"/>
                </a:lnTo>
                <a:lnTo>
                  <a:pt x="2090" y="517936"/>
                </a:lnTo>
                <a:lnTo>
                  <a:pt x="8254" y="556322"/>
                </a:lnTo>
                <a:lnTo>
                  <a:pt x="18328" y="593711"/>
                </a:lnTo>
                <a:lnTo>
                  <a:pt x="32151" y="629979"/>
                </a:lnTo>
                <a:lnTo>
                  <a:pt x="49560" y="665004"/>
                </a:lnTo>
                <a:lnTo>
                  <a:pt x="70393" y="698662"/>
                </a:lnTo>
                <a:lnTo>
                  <a:pt x="94488" y="730829"/>
                </a:lnTo>
                <a:lnTo>
                  <a:pt x="121682" y="761384"/>
                </a:lnTo>
                <a:lnTo>
                  <a:pt x="151812" y="790202"/>
                </a:lnTo>
                <a:lnTo>
                  <a:pt x="184718" y="817160"/>
                </a:lnTo>
                <a:lnTo>
                  <a:pt x="220236" y="842136"/>
                </a:lnTo>
                <a:lnTo>
                  <a:pt x="258203" y="865006"/>
                </a:lnTo>
                <a:lnTo>
                  <a:pt x="298459" y="885646"/>
                </a:lnTo>
                <a:lnTo>
                  <a:pt x="340839" y="903934"/>
                </a:lnTo>
                <a:lnTo>
                  <a:pt x="385183" y="919746"/>
                </a:lnTo>
                <a:lnTo>
                  <a:pt x="431328" y="932960"/>
                </a:lnTo>
                <a:lnTo>
                  <a:pt x="479111" y="943452"/>
                </a:lnTo>
                <a:lnTo>
                  <a:pt x="528371" y="951098"/>
                </a:lnTo>
                <a:lnTo>
                  <a:pt x="578944" y="955777"/>
                </a:lnTo>
                <a:lnTo>
                  <a:pt x="630669" y="957364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4" name="object 36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0"/>
                </a:moveTo>
                <a:lnTo>
                  <a:pt x="287365" y="4489"/>
                </a:lnTo>
                <a:lnTo>
                  <a:pt x="234587" y="17486"/>
                </a:lnTo>
                <a:lnTo>
                  <a:pt x="185373" y="38285"/>
                </a:lnTo>
                <a:lnTo>
                  <a:pt x="140429" y="66179"/>
                </a:lnTo>
                <a:lnTo>
                  <a:pt x="100463" y="100463"/>
                </a:lnTo>
                <a:lnTo>
                  <a:pt x="66179" y="140429"/>
                </a:lnTo>
                <a:lnTo>
                  <a:pt x="38285" y="185373"/>
                </a:lnTo>
                <a:lnTo>
                  <a:pt x="17486" y="234587"/>
                </a:lnTo>
                <a:lnTo>
                  <a:pt x="4489" y="287365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lnTo>
                  <a:pt x="371132" y="684866"/>
                </a:lnTo>
                <a:lnTo>
                  <a:pt x="425428" y="676034"/>
                </a:lnTo>
                <a:lnTo>
                  <a:pt x="476512" y="659048"/>
                </a:lnTo>
                <a:lnTo>
                  <a:pt x="523679" y="634613"/>
                </a:lnTo>
                <a:lnTo>
                  <a:pt x="566222" y="603436"/>
                </a:lnTo>
                <a:lnTo>
                  <a:pt x="603436" y="566222"/>
                </a:lnTo>
                <a:lnTo>
                  <a:pt x="634613" y="523679"/>
                </a:lnTo>
                <a:lnTo>
                  <a:pt x="659048" y="476512"/>
                </a:lnTo>
                <a:lnTo>
                  <a:pt x="676034" y="425428"/>
                </a:lnTo>
                <a:lnTo>
                  <a:pt x="684866" y="371132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close/>
              </a:path>
            </a:pathLst>
          </a:custGeom>
          <a:solidFill>
            <a:srgbClr val="EDEDEE"/>
          </a:solidFill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85" name="object 37"/>
          <p:cNvSpPr/>
          <p:nvPr/>
        </p:nvSpPr>
        <p:spPr>
          <a:xfrm>
            <a:off x="2272329" y="1592137"/>
            <a:ext cx="686003" cy="686003"/>
          </a:xfrm>
          <a:custGeom>
            <a:avLst/>
            <a:gdLst/>
            <a:ahLst/>
            <a:cxnLst/>
            <a:rect l="l" t="t" r="r" b="b"/>
            <a:pathLst>
              <a:path w="686003" h="686003">
                <a:moveTo>
                  <a:pt x="343001" y="686003"/>
                </a:moveTo>
                <a:lnTo>
                  <a:pt x="398637" y="681513"/>
                </a:lnTo>
                <a:lnTo>
                  <a:pt x="451416" y="668516"/>
                </a:lnTo>
                <a:lnTo>
                  <a:pt x="500629" y="647717"/>
                </a:lnTo>
                <a:lnTo>
                  <a:pt x="545573" y="619823"/>
                </a:lnTo>
                <a:lnTo>
                  <a:pt x="585539" y="585539"/>
                </a:lnTo>
                <a:lnTo>
                  <a:pt x="619823" y="545573"/>
                </a:lnTo>
                <a:lnTo>
                  <a:pt x="647717" y="500629"/>
                </a:lnTo>
                <a:lnTo>
                  <a:pt x="668516" y="451416"/>
                </a:lnTo>
                <a:lnTo>
                  <a:pt x="681513" y="398637"/>
                </a:lnTo>
                <a:lnTo>
                  <a:pt x="686003" y="343001"/>
                </a:lnTo>
                <a:lnTo>
                  <a:pt x="684866" y="314870"/>
                </a:lnTo>
                <a:lnTo>
                  <a:pt x="676034" y="260574"/>
                </a:lnTo>
                <a:lnTo>
                  <a:pt x="659048" y="209490"/>
                </a:lnTo>
                <a:lnTo>
                  <a:pt x="634613" y="162323"/>
                </a:lnTo>
                <a:lnTo>
                  <a:pt x="603436" y="119780"/>
                </a:lnTo>
                <a:lnTo>
                  <a:pt x="566222" y="82567"/>
                </a:lnTo>
                <a:lnTo>
                  <a:pt x="523679" y="51389"/>
                </a:lnTo>
                <a:lnTo>
                  <a:pt x="476512" y="26954"/>
                </a:lnTo>
                <a:lnTo>
                  <a:pt x="425428" y="9968"/>
                </a:lnTo>
                <a:lnTo>
                  <a:pt x="371132" y="1137"/>
                </a:lnTo>
                <a:lnTo>
                  <a:pt x="343001" y="0"/>
                </a:lnTo>
                <a:lnTo>
                  <a:pt x="314870" y="1137"/>
                </a:lnTo>
                <a:lnTo>
                  <a:pt x="260574" y="9968"/>
                </a:lnTo>
                <a:lnTo>
                  <a:pt x="209490" y="26954"/>
                </a:lnTo>
                <a:lnTo>
                  <a:pt x="162323" y="51389"/>
                </a:lnTo>
                <a:lnTo>
                  <a:pt x="119780" y="82567"/>
                </a:lnTo>
                <a:lnTo>
                  <a:pt x="82567" y="119780"/>
                </a:lnTo>
                <a:lnTo>
                  <a:pt x="51389" y="162323"/>
                </a:lnTo>
                <a:lnTo>
                  <a:pt x="26954" y="209490"/>
                </a:lnTo>
                <a:lnTo>
                  <a:pt x="9968" y="260574"/>
                </a:lnTo>
                <a:lnTo>
                  <a:pt x="1137" y="314870"/>
                </a:lnTo>
                <a:lnTo>
                  <a:pt x="0" y="343001"/>
                </a:lnTo>
                <a:lnTo>
                  <a:pt x="1137" y="371132"/>
                </a:lnTo>
                <a:lnTo>
                  <a:pt x="9968" y="425428"/>
                </a:lnTo>
                <a:lnTo>
                  <a:pt x="26954" y="476512"/>
                </a:lnTo>
                <a:lnTo>
                  <a:pt x="51389" y="523679"/>
                </a:lnTo>
                <a:lnTo>
                  <a:pt x="82567" y="566222"/>
                </a:lnTo>
                <a:lnTo>
                  <a:pt x="119780" y="603436"/>
                </a:lnTo>
                <a:lnTo>
                  <a:pt x="162323" y="634613"/>
                </a:lnTo>
                <a:lnTo>
                  <a:pt x="209490" y="659048"/>
                </a:lnTo>
                <a:lnTo>
                  <a:pt x="260574" y="676034"/>
                </a:lnTo>
                <a:lnTo>
                  <a:pt x="314870" y="684866"/>
                </a:lnTo>
                <a:lnTo>
                  <a:pt x="343001" y="686003"/>
                </a:lnTo>
                <a:close/>
              </a:path>
            </a:pathLst>
          </a:custGeom>
          <a:ln w="4406">
            <a:solidFill>
              <a:srgbClr val="231F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dirty="0"/>
          </a:p>
        </p:txBody>
      </p:sp>
      <p:sp>
        <p:nvSpPr>
          <p:cNvPr id="197" name="object 16"/>
          <p:cNvSpPr txBox="1"/>
          <p:nvPr/>
        </p:nvSpPr>
        <p:spPr>
          <a:xfrm>
            <a:off x="174794" y="1915797"/>
            <a:ext cx="990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STAD &amp; REGIO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8" name="object 16"/>
          <p:cNvSpPr txBox="1"/>
          <p:nvPr/>
        </p:nvSpPr>
        <p:spPr>
          <a:xfrm>
            <a:off x="1165394" y="1915797"/>
            <a:ext cx="5334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GEBIED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199" name="object 16"/>
          <p:cNvSpPr txBox="1"/>
          <p:nvPr/>
        </p:nvSpPr>
        <p:spPr>
          <a:xfrm>
            <a:off x="1698794" y="1823464"/>
            <a:ext cx="609600" cy="261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PROJECT</a:t>
            </a:r>
          </a:p>
          <a:p>
            <a:pPr marL="12700" algn="ctr">
              <a:lnSpc>
                <a:spcPct val="100000"/>
              </a:lnSpc>
            </a:pPr>
            <a:r>
              <a:rPr lang="nl-NL" sz="5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OF</a:t>
            </a:r>
          </a:p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KAVELS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00" name="object 16"/>
          <p:cNvSpPr txBox="1"/>
          <p:nvPr/>
        </p:nvSpPr>
        <p:spPr>
          <a:xfrm>
            <a:off x="2308394" y="1915797"/>
            <a:ext cx="60960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nl-NL" sz="600" b="1" kern="0" spc="60" dirty="0" smtClean="0">
                <a:solidFill>
                  <a:srgbClr val="231F20"/>
                </a:solidFill>
                <a:latin typeface="Arial"/>
                <a:cs typeface="Arial"/>
              </a:rPr>
              <a:t>REALISATIE</a:t>
            </a:r>
            <a:endParaRPr sz="600" b="1" kern="0" spc="60" dirty="0"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207963"/>
            <a:ext cx="8542338" cy="461665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>
                <a:cs typeface="Arial"/>
              </a:rPr>
              <a:t>sturing gebiedsontwikkeling</a:t>
            </a:r>
          </a:p>
        </p:txBody>
      </p:sp>
      <p:sp>
        <p:nvSpPr>
          <p:cNvPr id="24" name="Tekstvak 23"/>
          <p:cNvSpPr txBox="1"/>
          <p:nvPr/>
        </p:nvSpPr>
        <p:spPr>
          <a:xfrm>
            <a:off x="3904233" y="528419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endParaRPr lang="nl-NL" sz="1600" b="1" i="1" spc="90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sp>
        <p:nvSpPr>
          <p:cNvPr id="36" name="Tekstvak 35"/>
          <p:cNvSpPr txBox="1"/>
          <p:nvPr/>
        </p:nvSpPr>
        <p:spPr>
          <a:xfrm>
            <a:off x="1563795" y="511911"/>
            <a:ext cx="7345255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nl-NL" sz="1600" b="1" spc="9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2. Ondernemerschap &amp; organisatievermogen</a:t>
            </a:r>
            <a:endParaRPr lang="nl-NL" sz="1600" b="1" i="1" spc="9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</p:txBody>
      </p:sp>
      <p:sp>
        <p:nvSpPr>
          <p:cNvPr id="38" name="object 36"/>
          <p:cNvSpPr txBox="1"/>
          <p:nvPr/>
        </p:nvSpPr>
        <p:spPr>
          <a:xfrm>
            <a:off x="1310671" y="4578891"/>
            <a:ext cx="181660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belegger ingeschakeld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9" name="object 36"/>
          <p:cNvSpPr txBox="1"/>
          <p:nvPr/>
        </p:nvSpPr>
        <p:spPr>
          <a:xfrm>
            <a:off x="7039951" y="5766668"/>
            <a:ext cx="181660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staatssteun</a:t>
            </a:r>
          </a:p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omzeild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0" name="object 36"/>
          <p:cNvSpPr txBox="1"/>
          <p:nvPr/>
        </p:nvSpPr>
        <p:spPr>
          <a:xfrm>
            <a:off x="7728369" y="2692421"/>
            <a:ext cx="1340112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>
                <a:solidFill>
                  <a:srgbClr val="0084AE"/>
                </a:solidFill>
                <a:latin typeface="Arial"/>
                <a:cs typeface="Arial"/>
              </a:rPr>
              <a:t>nieuw </a:t>
            </a:r>
          </a:p>
          <a:p>
            <a:pPr marL="12700">
              <a:lnSpc>
                <a:spcPct val="100000"/>
              </a:lnSpc>
            </a:pPr>
            <a:r>
              <a:rPr lang="nl-NL" sz="1400" i="1" spc="50" dirty="0">
                <a:solidFill>
                  <a:srgbClr val="0084AE"/>
                </a:solidFill>
                <a:latin typeface="Arial"/>
                <a:cs typeface="Arial"/>
              </a:rPr>
              <a:t>marktsegment aangeboord</a:t>
            </a:r>
          </a:p>
          <a:p>
            <a:pPr marL="12700">
              <a:lnSpc>
                <a:spcPct val="100000"/>
              </a:lnSpc>
            </a:pPr>
            <a:r>
              <a:rPr lang="nl-NL" sz="1200" i="1" spc="50" dirty="0">
                <a:solidFill>
                  <a:srgbClr val="0084AE"/>
                </a:solidFill>
                <a:latin typeface="Arial"/>
                <a:cs typeface="Arial"/>
              </a:rPr>
              <a:t>(met planaanpassing)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2" name="Rechthoek 41"/>
          <p:cNvSpPr/>
          <p:nvPr/>
        </p:nvSpPr>
        <p:spPr>
          <a:xfrm>
            <a:off x="3809269" y="2585837"/>
            <a:ext cx="4219609" cy="2550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600" i="1" spc="80" dirty="0" smtClean="0">
                <a:solidFill>
                  <a:srgbClr val="231F20"/>
                </a:solidFill>
                <a:cs typeface="Arial"/>
              </a:rPr>
              <a:t>Context blijft onrustig</a:t>
            </a:r>
            <a:endParaRPr lang="nl-NL" sz="1600" dirty="0">
              <a:cs typeface="Arial"/>
            </a:endParaRPr>
          </a:p>
          <a:p>
            <a:pPr>
              <a:lnSpc>
                <a:spcPts val="750"/>
              </a:lnSpc>
              <a:spcBef>
                <a:spcPts val="19"/>
              </a:spcBef>
            </a:pPr>
            <a:endParaRPr lang="nl-NL" sz="700" dirty="0"/>
          </a:p>
          <a:p>
            <a:pPr marL="145415" indent="-13335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80" dirty="0">
                <a:solidFill>
                  <a:srgbClr val="231F20"/>
                </a:solidFill>
                <a:cs typeface="Arial"/>
              </a:rPr>
              <a:t>eig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n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in</a:t>
            </a:r>
            <a:r>
              <a:rPr lang="nl-NL" sz="1400" spc="65" dirty="0">
                <a:solidFill>
                  <a:srgbClr val="231F20"/>
                </a:solidFill>
                <a:cs typeface="Arial"/>
              </a:rPr>
              <a:t>i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i</a:t>
            </a:r>
            <a:r>
              <a:rPr lang="nl-NL" sz="1400" spc="60" dirty="0">
                <a:solidFill>
                  <a:srgbClr val="231F20"/>
                </a:solidFill>
                <a:cs typeface="Arial"/>
              </a:rPr>
              <a:t>a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i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f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10" dirty="0">
                <a:solidFill>
                  <a:srgbClr val="231F20"/>
                </a:solidFill>
                <a:cs typeface="Arial"/>
              </a:rPr>
              <a:t>&amp;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actie</a:t>
            </a:r>
          </a:p>
          <a:p>
            <a:pPr marL="12065">
              <a:lnSpc>
                <a:spcPts val="700"/>
              </a:lnSpc>
              <a:buClr>
                <a:srgbClr val="231F20"/>
              </a:buClr>
              <a:tabLst>
                <a:tab pos="161925" algn="l"/>
              </a:tabLst>
            </a:pPr>
            <a:endParaRPr lang="nl-NL" sz="1400" dirty="0">
              <a:cs typeface="Arial"/>
            </a:endParaRPr>
          </a:p>
          <a:p>
            <a:pPr marL="161925" indent="-14986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80" dirty="0">
                <a:solidFill>
                  <a:srgbClr val="231F20"/>
                </a:solidFill>
                <a:cs typeface="Arial"/>
              </a:rPr>
              <a:t>i</a:t>
            </a:r>
            <a:r>
              <a:rPr lang="nl-NL" sz="1400" spc="65" dirty="0">
                <a:solidFill>
                  <a:srgbClr val="231F20"/>
                </a:solidFill>
                <a:cs typeface="Arial"/>
              </a:rPr>
              <a:t>n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e</a:t>
            </a:r>
            <a:r>
              <a:rPr lang="nl-NL" sz="1400" spc="55" dirty="0">
                <a:solidFill>
                  <a:srgbClr val="231F20"/>
                </a:solidFill>
                <a:cs typeface="Arial"/>
              </a:rPr>
              <a:t>r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acti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e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met</a:t>
            </a:r>
            <a:r>
              <a:rPr lang="nl-NL" sz="1400" dirty="0"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pa</a:t>
            </a:r>
            <a:r>
              <a:rPr lang="nl-NL" sz="1400" spc="90" dirty="0">
                <a:solidFill>
                  <a:srgbClr val="231F20"/>
                </a:solidFill>
                <a:cs typeface="Arial"/>
              </a:rPr>
              <a:t>r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ner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s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10" dirty="0">
                <a:solidFill>
                  <a:srgbClr val="231F20"/>
                </a:solidFill>
                <a:cs typeface="Arial"/>
              </a:rPr>
              <a:t>&amp;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5" dirty="0">
                <a:solidFill>
                  <a:srgbClr val="231F20"/>
                </a:solidFill>
                <a:cs typeface="Arial"/>
              </a:rPr>
              <a:t>omg</a:t>
            </a:r>
            <a:r>
              <a:rPr lang="nl-NL" sz="1400" spc="45" dirty="0">
                <a:solidFill>
                  <a:srgbClr val="231F20"/>
                </a:solidFill>
                <a:cs typeface="Arial"/>
              </a:rPr>
              <a:t>e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ving</a:t>
            </a:r>
          </a:p>
          <a:p>
            <a:pPr marL="12065">
              <a:lnSpc>
                <a:spcPts val="700"/>
              </a:lnSpc>
              <a:buClr>
                <a:srgbClr val="231F20"/>
              </a:buClr>
              <a:tabLst>
                <a:tab pos="161925" algn="l"/>
              </a:tabLst>
            </a:pPr>
            <a:endParaRPr lang="nl-NL" sz="1400" dirty="0">
              <a:cs typeface="Arial"/>
            </a:endParaRPr>
          </a:p>
          <a:p>
            <a:pPr marL="151765" indent="-13970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51765" algn="l"/>
              </a:tabLst>
            </a:pPr>
            <a:r>
              <a:rPr lang="nl-NL" sz="1400" spc="75" dirty="0">
                <a:solidFill>
                  <a:srgbClr val="231F20"/>
                </a:solidFill>
                <a:cs typeface="Arial"/>
              </a:rPr>
              <a:t>‘j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e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5" dirty="0">
                <a:solidFill>
                  <a:srgbClr val="231F20"/>
                </a:solidFill>
                <a:cs typeface="Arial"/>
              </a:rPr>
              <a:t>mo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t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iet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s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5" dirty="0">
                <a:solidFill>
                  <a:srgbClr val="231F20"/>
                </a:solidFill>
                <a:cs typeface="Arial"/>
              </a:rPr>
              <a:t>m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t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elkaa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r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wil</a:t>
            </a:r>
            <a:r>
              <a:rPr lang="nl-NL" sz="1400" spc="65" dirty="0">
                <a:solidFill>
                  <a:srgbClr val="231F20"/>
                </a:solidFill>
                <a:cs typeface="Arial"/>
              </a:rPr>
              <a:t>l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en’</a:t>
            </a:r>
          </a:p>
          <a:p>
            <a:pPr marL="12065">
              <a:lnSpc>
                <a:spcPts val="700"/>
              </a:lnSpc>
              <a:buClr>
                <a:srgbClr val="231F20"/>
              </a:buClr>
              <a:tabLst>
                <a:tab pos="151765" algn="l"/>
              </a:tabLst>
            </a:pPr>
            <a:endParaRPr lang="nl-NL" sz="1400" dirty="0">
              <a:cs typeface="Arial"/>
            </a:endParaRPr>
          </a:p>
          <a:p>
            <a:pPr marL="145415" marR="614680" indent="-13335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80" dirty="0">
                <a:solidFill>
                  <a:srgbClr val="231F20"/>
                </a:solidFill>
                <a:cs typeface="Arial"/>
              </a:rPr>
              <a:t>inspe</a:t>
            </a:r>
            <a:r>
              <a:rPr lang="nl-NL" sz="1400" spc="65" dirty="0">
                <a:solidFill>
                  <a:srgbClr val="231F20"/>
                </a:solidFill>
                <a:cs typeface="Arial"/>
              </a:rPr>
              <a:t>l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n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o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p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o</a:t>
            </a:r>
            <a:r>
              <a:rPr lang="nl-NL" sz="1400" spc="10" dirty="0">
                <a:solidFill>
                  <a:srgbClr val="231F20"/>
                </a:solidFill>
                <a:cs typeface="Arial"/>
              </a:rPr>
              <a:t>n</a:t>
            </a:r>
            <a:r>
              <a:rPr lang="nl-NL" sz="1400" spc="50" dirty="0">
                <a:solidFill>
                  <a:srgbClr val="231F20"/>
                </a:solidFill>
                <a:cs typeface="Arial"/>
              </a:rPr>
              <a:t>v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er</a:t>
            </a:r>
            <a:r>
              <a:rPr lang="nl-NL" sz="1400" spc="45" dirty="0">
                <a:solidFill>
                  <a:srgbClr val="231F20"/>
                </a:solidFill>
                <a:cs typeface="Arial"/>
              </a:rPr>
              <a:t>w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ac</a:t>
            </a:r>
            <a:r>
              <a:rPr lang="nl-NL" sz="1400" spc="65" dirty="0">
                <a:solidFill>
                  <a:srgbClr val="231F20"/>
                </a:solidFill>
                <a:cs typeface="Arial"/>
              </a:rPr>
              <a:t>h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e gebeu</a:t>
            </a:r>
            <a:r>
              <a:rPr lang="nl-NL" sz="1400" spc="90" dirty="0">
                <a:solidFill>
                  <a:srgbClr val="231F20"/>
                </a:solidFill>
                <a:cs typeface="Arial"/>
              </a:rPr>
              <a:t>r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eniss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n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e</a:t>
            </a:r>
            <a:r>
              <a:rPr lang="nl-NL" sz="1400" spc="5" dirty="0">
                <a:solidFill>
                  <a:srgbClr val="231F20"/>
                </a:solidFill>
                <a:cs typeface="Arial"/>
              </a:rPr>
              <a:t>n</a:t>
            </a:r>
            <a:r>
              <a:rPr lang="nl-NL" sz="1400" spc="160" dirty="0">
                <a:solidFill>
                  <a:srgbClr val="231F20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to</a:t>
            </a:r>
            <a:r>
              <a:rPr lang="nl-NL" sz="1400" spc="45" dirty="0">
                <a:solidFill>
                  <a:srgbClr val="231F20"/>
                </a:solidFill>
                <a:cs typeface="Arial"/>
              </a:rPr>
              <a:t>e</a:t>
            </a:r>
            <a:r>
              <a:rPr lang="nl-NL" sz="1400" spc="40" dirty="0">
                <a:solidFill>
                  <a:srgbClr val="231F20"/>
                </a:solidFill>
                <a:cs typeface="Arial"/>
              </a:rPr>
              <a:t>v</a:t>
            </a:r>
            <a:r>
              <a:rPr lang="nl-NL" sz="1400" spc="80" dirty="0">
                <a:solidFill>
                  <a:srgbClr val="231F20"/>
                </a:solidFill>
                <a:cs typeface="Arial"/>
              </a:rPr>
              <a:t>al</a:t>
            </a:r>
          </a:p>
          <a:p>
            <a:pPr marL="145415" marR="614680" indent="-13335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endParaRPr lang="nl-NL" sz="1400" spc="80" dirty="0">
              <a:solidFill>
                <a:srgbClr val="231F20"/>
              </a:solidFill>
              <a:cs typeface="Arial"/>
            </a:endParaRPr>
          </a:p>
          <a:p>
            <a:pPr marL="145415" marR="614680" indent="-133350">
              <a:lnSpc>
                <a:spcPts val="1800"/>
              </a:lnSpc>
              <a:buClr>
                <a:srgbClr val="231F20"/>
              </a:buClr>
              <a:buFont typeface="TheSerifSemiBold-Plain"/>
              <a:buChar char="•"/>
              <a:tabLst>
                <a:tab pos="161925" algn="l"/>
              </a:tabLst>
            </a:pPr>
            <a:r>
              <a:rPr lang="nl-NL" sz="1400" spc="40" dirty="0">
                <a:solidFill>
                  <a:srgbClr val="009F4F"/>
                </a:solidFill>
                <a:cs typeface="Arial"/>
              </a:rPr>
              <a:t>v</a:t>
            </a:r>
            <a:r>
              <a:rPr lang="nl-NL" sz="1400" spc="80" dirty="0">
                <a:solidFill>
                  <a:srgbClr val="009F4F"/>
                </a:solidFill>
                <a:cs typeface="Arial"/>
              </a:rPr>
              <a:t>a</a:t>
            </a:r>
            <a:r>
              <a:rPr lang="nl-NL" sz="1400" spc="5" dirty="0">
                <a:solidFill>
                  <a:srgbClr val="009F4F"/>
                </a:solidFill>
                <a:cs typeface="Arial"/>
              </a:rPr>
              <a:t>n</a:t>
            </a:r>
            <a:r>
              <a:rPr lang="nl-NL" sz="1400" spc="160" dirty="0">
                <a:solidFill>
                  <a:srgbClr val="009F4F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009F4F"/>
                </a:solidFill>
                <a:cs typeface="Arial"/>
              </a:rPr>
              <a:t>bedreiging ee</a:t>
            </a:r>
            <a:r>
              <a:rPr lang="nl-NL" sz="1400" spc="5" dirty="0">
                <a:solidFill>
                  <a:srgbClr val="009F4F"/>
                </a:solidFill>
                <a:cs typeface="Arial"/>
              </a:rPr>
              <a:t>n</a:t>
            </a:r>
            <a:r>
              <a:rPr lang="nl-NL" sz="1400" spc="160" dirty="0">
                <a:solidFill>
                  <a:srgbClr val="009F4F"/>
                </a:solidFill>
                <a:cs typeface="Arial"/>
              </a:rPr>
              <a:t> </a:t>
            </a:r>
            <a:r>
              <a:rPr lang="nl-NL" sz="1400" spc="80" dirty="0">
                <a:solidFill>
                  <a:srgbClr val="009F4F"/>
                </a:solidFill>
                <a:cs typeface="Arial"/>
              </a:rPr>
              <a:t>kan</a:t>
            </a:r>
            <a:r>
              <a:rPr lang="nl-NL" sz="1400" spc="5" dirty="0">
                <a:solidFill>
                  <a:srgbClr val="009F4F"/>
                </a:solidFill>
                <a:cs typeface="Arial"/>
              </a:rPr>
              <a:t>s</a:t>
            </a:r>
            <a:r>
              <a:rPr lang="nl-NL" sz="1400" spc="160" dirty="0">
                <a:solidFill>
                  <a:srgbClr val="009F4F"/>
                </a:solidFill>
                <a:cs typeface="Arial"/>
              </a:rPr>
              <a:t> </a:t>
            </a:r>
            <a:r>
              <a:rPr lang="nl-NL" sz="1400" spc="75" dirty="0">
                <a:solidFill>
                  <a:srgbClr val="009F4F"/>
                </a:solidFill>
                <a:cs typeface="Arial"/>
              </a:rPr>
              <a:t>m</a:t>
            </a:r>
            <a:r>
              <a:rPr lang="nl-NL" sz="1400" spc="80" dirty="0">
                <a:solidFill>
                  <a:srgbClr val="009F4F"/>
                </a:solidFill>
                <a:cs typeface="Arial"/>
              </a:rPr>
              <a:t>a</a:t>
            </a:r>
            <a:r>
              <a:rPr lang="nl-NL" sz="1400" spc="55" dirty="0">
                <a:solidFill>
                  <a:srgbClr val="009F4F"/>
                </a:solidFill>
                <a:cs typeface="Arial"/>
              </a:rPr>
              <a:t>k</a:t>
            </a:r>
            <a:r>
              <a:rPr lang="nl-NL" sz="1400" spc="80" dirty="0">
                <a:solidFill>
                  <a:srgbClr val="009F4F"/>
                </a:solidFill>
                <a:cs typeface="Arial"/>
              </a:rPr>
              <a:t>en</a:t>
            </a:r>
            <a:endParaRPr lang="nl-NL" sz="1400" dirty="0">
              <a:cs typeface="Arial"/>
            </a:endParaRPr>
          </a:p>
          <a:p>
            <a:pPr marL="12065" marR="614680">
              <a:lnSpc>
                <a:spcPts val="1800"/>
              </a:lnSpc>
              <a:buClr>
                <a:srgbClr val="231F20"/>
              </a:buClr>
              <a:tabLst>
                <a:tab pos="161925" algn="l"/>
              </a:tabLst>
            </a:pPr>
            <a:endParaRPr lang="nl-NL" sz="1400" spc="80" dirty="0">
              <a:solidFill>
                <a:srgbClr val="231F20"/>
              </a:solidFill>
              <a:cs typeface="Arial"/>
            </a:endParaRPr>
          </a:p>
        </p:txBody>
      </p:sp>
      <p:sp>
        <p:nvSpPr>
          <p:cNvPr id="43" name="object 36"/>
          <p:cNvSpPr txBox="1"/>
          <p:nvPr/>
        </p:nvSpPr>
        <p:spPr>
          <a:xfrm>
            <a:off x="3087688" y="1161943"/>
            <a:ext cx="184182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>
                <a:solidFill>
                  <a:srgbClr val="0084AE"/>
                </a:solidFill>
                <a:latin typeface="Arial"/>
                <a:cs typeface="Arial"/>
              </a:rPr>
              <a:t>w</a:t>
            </a: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ethouders-</a:t>
            </a:r>
          </a:p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wisseling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4" name="object 36"/>
          <p:cNvSpPr txBox="1"/>
          <p:nvPr/>
        </p:nvSpPr>
        <p:spPr>
          <a:xfrm>
            <a:off x="7754640" y="1331288"/>
            <a:ext cx="1841821" cy="4437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wegva</a:t>
            </a:r>
            <a:r>
              <a:rPr sz="1400" i="1" spc="85" dirty="0">
                <a:solidFill>
                  <a:srgbClr val="0084AE"/>
                </a:solidFill>
                <a:latin typeface="Arial"/>
                <a:cs typeface="Arial"/>
              </a:rPr>
              <a:t>l</a:t>
            </a:r>
            <a:r>
              <a:rPr sz="1400" i="1" spc="35" dirty="0">
                <a:solidFill>
                  <a:srgbClr val="0084AE"/>
                </a:solidFill>
                <a:latin typeface="Arial"/>
                <a:cs typeface="Arial"/>
              </a:rPr>
              <a:t>l</a:t>
            </a: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en</a:t>
            </a:r>
            <a:endParaRPr sz="1400" dirty="0">
              <a:latin typeface="Arial"/>
              <a:cs typeface="Arial"/>
            </a:endParaRPr>
          </a:p>
          <a:p>
            <a:pPr marL="12700">
              <a:lnSpc>
                <a:spcPts val="1800"/>
              </a:lnSpc>
            </a:pP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m</a:t>
            </a:r>
            <a:r>
              <a:rPr sz="1400" i="1" spc="15" dirty="0">
                <a:solidFill>
                  <a:srgbClr val="0084AE"/>
                </a:solidFill>
                <a:latin typeface="Arial"/>
                <a:cs typeface="Arial"/>
              </a:rPr>
              <a:t>a</a:t>
            </a:r>
            <a:r>
              <a:rPr sz="1400" i="1" spc="50" dirty="0">
                <a:solidFill>
                  <a:srgbClr val="0084AE"/>
                </a:solidFill>
                <a:latin typeface="Arial"/>
                <a:cs typeface="Arial"/>
              </a:rPr>
              <a:t>rktsegme</a:t>
            </a:r>
            <a:r>
              <a:rPr sz="1400" i="1" spc="15" dirty="0">
                <a:solidFill>
                  <a:srgbClr val="0084AE"/>
                </a:solidFill>
                <a:latin typeface="Arial"/>
                <a:cs typeface="Arial"/>
              </a:rPr>
              <a:t>n</a:t>
            </a:r>
            <a:r>
              <a:rPr sz="1400" i="1" dirty="0">
                <a:solidFill>
                  <a:srgbClr val="0084AE"/>
                </a:solidFill>
                <a:latin typeface="Arial"/>
                <a:cs typeface="Arial"/>
              </a:rPr>
              <a:t>t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5" name="object 36"/>
          <p:cNvSpPr txBox="1"/>
          <p:nvPr/>
        </p:nvSpPr>
        <p:spPr>
          <a:xfrm>
            <a:off x="2599872" y="5738167"/>
            <a:ext cx="198120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>
                <a:solidFill>
                  <a:srgbClr val="0084AE"/>
                </a:solidFill>
                <a:latin typeface="Arial"/>
                <a:cs typeface="Arial"/>
              </a:rPr>
              <a:t>c</a:t>
            </a: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orporatie stopt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6" name="object 36"/>
          <p:cNvSpPr txBox="1"/>
          <p:nvPr/>
        </p:nvSpPr>
        <p:spPr>
          <a:xfrm>
            <a:off x="7637617" y="5330309"/>
            <a:ext cx="1841822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nl-NL" sz="1400" i="1" spc="50" dirty="0" smtClean="0">
                <a:solidFill>
                  <a:srgbClr val="0084AE"/>
                </a:solidFill>
                <a:latin typeface="Arial"/>
                <a:cs typeface="Arial"/>
              </a:rPr>
              <a:t>staatssteun</a:t>
            </a:r>
            <a:endParaRPr sz="1400" dirty="0">
              <a:latin typeface="Arial"/>
              <a:cs typeface="Arial"/>
            </a:endParaRPr>
          </a:p>
        </p:txBody>
      </p:sp>
      <p:pic>
        <p:nvPicPr>
          <p:cNvPr id="34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7240" y="5953611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72587" y="6484830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/>
              <a:t>Praktijkleerstoel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</p:spTree>
    <p:extLst>
      <p:ext uri="{BB962C8B-B14F-4D97-AF65-F5344CB8AC3E}">
        <p14:creationId xmlns:p14="http://schemas.microsoft.com/office/powerpoint/2010/main" val="4027444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16</a:t>
            </a:fld>
            <a:endParaRPr lang="nl-NL" dirty="0"/>
          </a:p>
        </p:txBody>
      </p:sp>
      <p:pic>
        <p:nvPicPr>
          <p:cNvPr id="4098" name="Picture 2" descr="https://hansdevreij.files.wordpress.com/2009/02/kapitein-kroon-foto-minvdefensie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329" y="51181"/>
            <a:ext cx="5672580" cy="670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288" y="5918200"/>
            <a:ext cx="68580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9006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17</a:t>
            </a:fld>
            <a:endParaRPr lang="nl-NL" dirty="0"/>
          </a:p>
        </p:txBody>
      </p:sp>
      <p:pic>
        <p:nvPicPr>
          <p:cNvPr id="5122" name="Picture 2" descr="Jonge vrouw in groene bare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655" y="547230"/>
            <a:ext cx="8011093" cy="5347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288" y="5918200"/>
            <a:ext cx="68580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hoek 4"/>
          <p:cNvSpPr/>
          <p:nvPr/>
        </p:nvSpPr>
        <p:spPr>
          <a:xfrm>
            <a:off x="232350" y="6317218"/>
            <a:ext cx="2606804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 b="1" dirty="0" err="1"/>
              <a:t>Praktijkleerstoel</a:t>
            </a:r>
            <a:r>
              <a:rPr lang="en-US" sz="1050" b="1" dirty="0"/>
              <a:t> </a:t>
            </a:r>
            <a:r>
              <a:rPr lang="en-US" sz="1050" b="1" dirty="0" err="1"/>
              <a:t>Gebiedsontwikkeling</a:t>
            </a:r>
            <a:endParaRPr lang="nl-NL" sz="1050" dirty="0"/>
          </a:p>
        </p:txBody>
      </p:sp>
    </p:spTree>
    <p:extLst>
      <p:ext uri="{BB962C8B-B14F-4D97-AF65-F5344CB8AC3E}">
        <p14:creationId xmlns:p14="http://schemas.microsoft.com/office/powerpoint/2010/main" val="414263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18</a:t>
            </a:fld>
            <a:endParaRPr lang="nl-NL" dirty="0"/>
          </a:p>
        </p:txBody>
      </p:sp>
      <p:sp>
        <p:nvSpPr>
          <p:cNvPr id="3" name="Ovaal 2"/>
          <p:cNvSpPr/>
          <p:nvPr/>
        </p:nvSpPr>
        <p:spPr>
          <a:xfrm>
            <a:off x="36576" y="894444"/>
            <a:ext cx="3547872" cy="341985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smtClean="0"/>
          </a:p>
        </p:txBody>
      </p:sp>
      <p:sp>
        <p:nvSpPr>
          <p:cNvPr id="5" name="Ovaal 4"/>
          <p:cNvSpPr/>
          <p:nvPr/>
        </p:nvSpPr>
        <p:spPr>
          <a:xfrm>
            <a:off x="5010912" y="894444"/>
            <a:ext cx="3624072" cy="3447288"/>
          </a:xfrm>
          <a:prstGeom prst="ellipse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smtClean="0"/>
          </a:p>
        </p:txBody>
      </p:sp>
      <p:sp>
        <p:nvSpPr>
          <p:cNvPr id="6" name="Ovaal 5"/>
          <p:cNvSpPr/>
          <p:nvPr/>
        </p:nvSpPr>
        <p:spPr>
          <a:xfrm>
            <a:off x="2519666" y="880728"/>
            <a:ext cx="3666744" cy="34472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smtClean="0"/>
          </a:p>
        </p:txBody>
      </p:sp>
      <p:sp>
        <p:nvSpPr>
          <p:cNvPr id="7" name="Tekstvak 6"/>
          <p:cNvSpPr txBox="1"/>
          <p:nvPr/>
        </p:nvSpPr>
        <p:spPr>
          <a:xfrm>
            <a:off x="700010" y="1976344"/>
            <a:ext cx="3639312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 smtClean="0"/>
              <a:t>strijd </a:t>
            </a:r>
          </a:p>
          <a:p>
            <a:endParaRPr lang="nl-NL" sz="1600" dirty="0" smtClean="0"/>
          </a:p>
          <a:p>
            <a:r>
              <a:rPr lang="nl-NL" sz="1600" dirty="0" smtClean="0"/>
              <a:t>ondernemerschap</a:t>
            </a:r>
          </a:p>
          <a:p>
            <a:endParaRPr lang="nl-NL" sz="1600" dirty="0"/>
          </a:p>
          <a:p>
            <a:r>
              <a:rPr lang="nl-NL" sz="1600" dirty="0"/>
              <a:t>o</a:t>
            </a:r>
            <a:r>
              <a:rPr lang="nl-NL" sz="1600" dirty="0" smtClean="0"/>
              <a:t>nderhandeling</a:t>
            </a:r>
          </a:p>
          <a:p>
            <a:endParaRPr lang="nl-NL" sz="1600" dirty="0"/>
          </a:p>
          <a:p>
            <a:r>
              <a:rPr lang="nl-NL" sz="1600" dirty="0" smtClean="0"/>
              <a:t>’gaan en blijven gaan’</a:t>
            </a:r>
          </a:p>
          <a:p>
            <a:endParaRPr lang="nl-NL" sz="1600" dirty="0"/>
          </a:p>
        </p:txBody>
      </p:sp>
      <p:sp>
        <p:nvSpPr>
          <p:cNvPr id="8" name="Tekstvak 7"/>
          <p:cNvSpPr txBox="1"/>
          <p:nvPr/>
        </p:nvSpPr>
        <p:spPr>
          <a:xfrm>
            <a:off x="3650512" y="1949525"/>
            <a:ext cx="315468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/>
              <a:t>p</a:t>
            </a:r>
            <a:r>
              <a:rPr lang="nl-NL" sz="1600" dirty="0" smtClean="0"/>
              <a:t>rofessioneel</a:t>
            </a:r>
          </a:p>
          <a:p>
            <a:endParaRPr lang="nl-NL" sz="1600" dirty="0"/>
          </a:p>
          <a:p>
            <a:r>
              <a:rPr lang="nl-NL" sz="1600" dirty="0" smtClean="0"/>
              <a:t>persoonlijke relatie</a:t>
            </a:r>
          </a:p>
          <a:p>
            <a:endParaRPr lang="nl-NL" sz="1600" dirty="0"/>
          </a:p>
          <a:p>
            <a:r>
              <a:rPr lang="nl-NL" sz="1600" dirty="0" smtClean="0"/>
              <a:t>continuïteit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6214819" y="1853233"/>
            <a:ext cx="2709672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/>
              <a:t>e</a:t>
            </a:r>
            <a:r>
              <a:rPr lang="nl-NL" sz="1600" dirty="0" smtClean="0"/>
              <a:t>mpathie</a:t>
            </a:r>
          </a:p>
          <a:p>
            <a:endParaRPr lang="nl-NL" sz="1600" dirty="0"/>
          </a:p>
          <a:p>
            <a:r>
              <a:rPr lang="nl-NL" sz="1600" dirty="0"/>
              <a:t>t</a:t>
            </a:r>
            <a:r>
              <a:rPr lang="nl-NL" sz="1600" dirty="0" smtClean="0"/>
              <a:t>ransparant</a:t>
            </a:r>
          </a:p>
          <a:p>
            <a:endParaRPr lang="nl-NL" sz="1600" dirty="0"/>
          </a:p>
          <a:p>
            <a:r>
              <a:rPr lang="nl-NL" sz="1600" dirty="0"/>
              <a:t>c</a:t>
            </a:r>
            <a:r>
              <a:rPr lang="nl-NL" sz="1600" dirty="0" smtClean="0"/>
              <a:t>ommunicatief</a:t>
            </a:r>
          </a:p>
          <a:p>
            <a:endParaRPr lang="nl-NL" sz="1600" dirty="0"/>
          </a:p>
          <a:p>
            <a:r>
              <a:rPr lang="nl-NL" sz="1600" dirty="0" smtClean="0"/>
              <a:t>aanpassingsvermogen</a:t>
            </a:r>
          </a:p>
        </p:txBody>
      </p:sp>
      <p:sp>
        <p:nvSpPr>
          <p:cNvPr id="10" name="PIJL-OMLAAG 9"/>
          <p:cNvSpPr/>
          <p:nvPr/>
        </p:nvSpPr>
        <p:spPr>
          <a:xfrm>
            <a:off x="3973068" y="4394642"/>
            <a:ext cx="642488" cy="747951"/>
          </a:xfrm>
          <a:prstGeom prst="down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dirty="0" smtClean="0"/>
          </a:p>
        </p:txBody>
      </p:sp>
      <p:sp>
        <p:nvSpPr>
          <p:cNvPr id="11" name="Tekstvak 10"/>
          <p:cNvSpPr txBox="1"/>
          <p:nvPr/>
        </p:nvSpPr>
        <p:spPr>
          <a:xfrm>
            <a:off x="2679192" y="6548050"/>
            <a:ext cx="44256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r</a:t>
            </a:r>
            <a:r>
              <a:rPr lang="nl-NL" dirty="0" smtClean="0"/>
              <a:t>esultaten boeken in samenwerking</a:t>
            </a:r>
          </a:p>
        </p:txBody>
      </p:sp>
      <p:sp>
        <p:nvSpPr>
          <p:cNvPr id="16" name="Boog 15"/>
          <p:cNvSpPr/>
          <p:nvPr/>
        </p:nvSpPr>
        <p:spPr>
          <a:xfrm rot="806686">
            <a:off x="1337127" y="1257300"/>
            <a:ext cx="2269202" cy="2915416"/>
          </a:xfrm>
          <a:prstGeom prst="arc">
            <a:avLst>
              <a:gd name="adj1" fmla="val 16855883"/>
              <a:gd name="adj2" fmla="val 3032408"/>
            </a:avLst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18" name="Boog 17"/>
          <p:cNvSpPr/>
          <p:nvPr/>
        </p:nvSpPr>
        <p:spPr>
          <a:xfrm rot="11782586">
            <a:off x="4979571" y="1096260"/>
            <a:ext cx="2470497" cy="2937636"/>
          </a:xfrm>
          <a:prstGeom prst="arc">
            <a:avLst>
              <a:gd name="adj1" fmla="val 16711138"/>
              <a:gd name="adj2" fmla="val 2827920"/>
            </a:avLst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3" name="Picture 10" descr="tu-skg-fc_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288" y="5918200"/>
            <a:ext cx="685800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https://hansdevreij.files.wordpress.com/2009/02/kapitein-kroon-foto-minvdefensie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581" y="298243"/>
            <a:ext cx="1009059" cy="1192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Jonge vrouw in groene baret">
            <a:hlinkClick r:id="rId5" tooltip="Download Jonge Vrouw In Groene Baret Royalty-vrije Stock Afbeeldingen - Beeld: 15781959"/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786" y="5142593"/>
            <a:ext cx="2106503" cy="1406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0872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 animBg="1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6713" y="207963"/>
            <a:ext cx="8409600" cy="923330"/>
          </a:xfrm>
        </p:spPr>
        <p:txBody>
          <a:bodyPr/>
          <a:lstStyle/>
          <a:p>
            <a:r>
              <a:rPr lang="nl-NL" dirty="0" smtClean="0">
                <a:solidFill>
                  <a:srgbClr val="4DA5DB"/>
                </a:solidFill>
              </a:rPr>
              <a:t>       Analysekader: van buiten naar binnen</a:t>
            </a:r>
            <a:r>
              <a:rPr lang="nl-NL" dirty="0"/>
              <a:t/>
            </a:r>
            <a:br>
              <a:rPr lang="nl-NL" dirty="0"/>
            </a:b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-410173" y="1046163"/>
            <a:ext cx="9398725" cy="4826000"/>
          </a:xfrm>
        </p:spPr>
        <p:txBody>
          <a:bodyPr/>
          <a:lstStyle/>
          <a:p>
            <a:pPr marL="36000" indent="0" algn="ctr">
              <a:lnSpc>
                <a:spcPct val="100000"/>
              </a:lnSpc>
              <a:buNone/>
            </a:pPr>
            <a:r>
              <a:rPr lang="nl-NL" dirty="0" smtClean="0"/>
              <a:t>       </a:t>
            </a:r>
            <a:r>
              <a:rPr lang="nl-NL" sz="2800" dirty="0" smtClean="0"/>
              <a:t>  </a:t>
            </a:r>
            <a:endParaRPr lang="nl-NL" sz="2800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1</a:t>
            </a:fld>
            <a:endParaRPr lang="nl-NL"/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87216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232350" y="6424940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  <p:sp>
        <p:nvSpPr>
          <p:cNvPr id="7" name="Tekstvak 6"/>
          <p:cNvSpPr txBox="1"/>
          <p:nvPr/>
        </p:nvSpPr>
        <p:spPr>
          <a:xfrm>
            <a:off x="1269416" y="1266110"/>
            <a:ext cx="6509156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 smtClean="0"/>
              <a:t>    </a:t>
            </a:r>
            <a:r>
              <a:rPr lang="nl-NL" sz="2400" dirty="0" smtClean="0"/>
              <a:t>maatschappelijke &amp; economische dynamiek</a:t>
            </a:r>
          </a:p>
        </p:txBody>
      </p:sp>
      <p:sp>
        <p:nvSpPr>
          <p:cNvPr id="8" name="PIJL-OMLAAG 7"/>
          <p:cNvSpPr/>
          <p:nvPr/>
        </p:nvSpPr>
        <p:spPr>
          <a:xfrm>
            <a:off x="3867912" y="1798580"/>
            <a:ext cx="656082" cy="981195"/>
          </a:xfrm>
          <a:prstGeom prst="down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9" name="Tekstvak 8"/>
          <p:cNvSpPr txBox="1"/>
          <p:nvPr/>
        </p:nvSpPr>
        <p:spPr>
          <a:xfrm>
            <a:off x="1424464" y="3055426"/>
            <a:ext cx="6199060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 smtClean="0"/>
              <a:t>            </a:t>
            </a:r>
            <a:r>
              <a:rPr lang="nl-NL" sz="2400" dirty="0" smtClean="0"/>
              <a:t>verandert </a:t>
            </a:r>
            <a:r>
              <a:rPr lang="nl-NL" sz="2400" b="1" dirty="0" smtClean="0"/>
              <a:t>opgaven</a:t>
            </a:r>
            <a:r>
              <a:rPr lang="nl-NL" sz="2400" dirty="0" smtClean="0"/>
              <a:t> gebiedsontwikkeling</a:t>
            </a:r>
          </a:p>
        </p:txBody>
      </p:sp>
      <p:sp>
        <p:nvSpPr>
          <p:cNvPr id="10" name="PIJL-OMLAAG 9"/>
          <p:cNvSpPr/>
          <p:nvPr/>
        </p:nvSpPr>
        <p:spPr>
          <a:xfrm>
            <a:off x="4049649" y="3698748"/>
            <a:ext cx="292608" cy="539496"/>
          </a:xfrm>
          <a:prstGeom prst="downArrow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11" name="Tekstvak 10"/>
          <p:cNvSpPr txBox="1"/>
          <p:nvPr/>
        </p:nvSpPr>
        <p:spPr>
          <a:xfrm>
            <a:off x="1424464" y="4624196"/>
            <a:ext cx="6382512" cy="369332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 smtClean="0"/>
              <a:t>          </a:t>
            </a:r>
            <a:r>
              <a:rPr lang="nl-NL" sz="2400" dirty="0" smtClean="0"/>
              <a:t>verandert </a:t>
            </a:r>
            <a:r>
              <a:rPr lang="nl-NL" sz="2400" b="1" dirty="0" smtClean="0"/>
              <a:t>aanpak</a:t>
            </a:r>
            <a:r>
              <a:rPr lang="nl-NL" sz="2400" dirty="0" smtClean="0"/>
              <a:t> gebiedsontwikkeling?</a:t>
            </a:r>
          </a:p>
        </p:txBody>
      </p:sp>
      <p:pic>
        <p:nvPicPr>
          <p:cNvPr id="12" name="Picture 2" descr="Hom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41"/>
          <a:stretch/>
        </p:blipFill>
        <p:spPr bwMode="auto">
          <a:xfrm>
            <a:off x="6651774" y="5856734"/>
            <a:ext cx="1398439" cy="802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69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00B0F0"/>
                </a:solidFill>
              </a:rPr>
              <a:t>Leiderschap</a:t>
            </a:r>
            <a:r>
              <a:rPr lang="en-US" dirty="0" smtClean="0">
                <a:solidFill>
                  <a:srgbClr val="00B0F0"/>
                </a:solidFill>
              </a:rPr>
              <a:t> in de </a:t>
            </a:r>
            <a:r>
              <a:rPr lang="en-US" dirty="0" err="1" smtClean="0">
                <a:solidFill>
                  <a:srgbClr val="00B0F0"/>
                </a:solidFill>
              </a:rPr>
              <a:t>netwerksturing</a:t>
            </a:r>
            <a:endParaRPr lang="nl-NL" dirty="0">
              <a:solidFill>
                <a:srgbClr val="00B0F0"/>
              </a:solidFill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sz="3200" dirty="0" smtClean="0"/>
              <a:t>visie </a:t>
            </a:r>
            <a:r>
              <a:rPr lang="nl-NL" sz="2400" dirty="0"/>
              <a:t>(maar niet te veel</a:t>
            </a:r>
            <a:r>
              <a:rPr lang="nl-NL" sz="2400" dirty="0" smtClean="0"/>
              <a:t>….) en</a:t>
            </a:r>
            <a:r>
              <a:rPr lang="nl-NL" sz="3200" dirty="0" smtClean="0"/>
              <a:t> ambitie</a:t>
            </a:r>
          </a:p>
          <a:p>
            <a:pPr marL="0" lvl="0" indent="0">
              <a:buNone/>
            </a:pPr>
            <a:endParaRPr lang="nl-NL" sz="3200" dirty="0"/>
          </a:p>
          <a:p>
            <a:pPr lvl="0"/>
            <a:r>
              <a:rPr lang="en-US" sz="3200" dirty="0" err="1"/>
              <a:t>n</a:t>
            </a:r>
            <a:r>
              <a:rPr lang="en-US" sz="3200" dirty="0" err="1" smtClean="0"/>
              <a:t>etwerk</a:t>
            </a:r>
            <a:r>
              <a:rPr lang="en-US" sz="3200" dirty="0" smtClean="0"/>
              <a:t> en </a:t>
            </a:r>
            <a:r>
              <a:rPr lang="en-US" sz="3200" dirty="0" err="1" smtClean="0"/>
              <a:t>verbinden</a:t>
            </a:r>
            <a:endParaRPr lang="nl-NL" sz="3200" dirty="0" smtClean="0"/>
          </a:p>
          <a:p>
            <a:pPr marL="0" lvl="0" indent="0">
              <a:buNone/>
            </a:pPr>
            <a:r>
              <a:rPr lang="nl-NL" sz="3200" dirty="0" smtClean="0"/>
              <a:t> </a:t>
            </a:r>
            <a:endParaRPr lang="nl-NL" sz="3200" dirty="0"/>
          </a:p>
          <a:p>
            <a:pPr lvl="0"/>
            <a:r>
              <a:rPr lang="nl-NL" sz="3200" dirty="0" err="1"/>
              <a:t>o</a:t>
            </a:r>
            <a:r>
              <a:rPr lang="nl-NL" sz="3200" dirty="0" err="1" smtClean="0"/>
              <a:t>rganisatie-vermogen</a:t>
            </a:r>
            <a:r>
              <a:rPr lang="nl-NL" sz="3200" dirty="0" smtClean="0"/>
              <a:t> </a:t>
            </a:r>
            <a:r>
              <a:rPr lang="nl-NL" sz="2400" dirty="0" smtClean="0"/>
              <a:t>(vooral ploeteren…..)</a:t>
            </a:r>
            <a:endParaRPr lang="nl-NL" sz="2400" dirty="0"/>
          </a:p>
          <a:p>
            <a:pPr marL="0" indent="0">
              <a:buNone/>
            </a:pPr>
            <a:r>
              <a:rPr lang="nl-NL" sz="3200" dirty="0"/>
              <a:t> 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19</a:t>
            </a:fld>
            <a:endParaRPr lang="nl-NL"/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2238" y="5859262"/>
            <a:ext cx="1028744" cy="934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149169" y="6347128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28406568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pc="90" dirty="0">
                <a:cs typeface="Arial"/>
              </a:rPr>
              <a:t>sturing gebiedsontwikkeling</a:t>
            </a:r>
            <a:endParaRPr lang="nl-NL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20</a:t>
            </a:fld>
            <a:endParaRPr lang="nl-NL"/>
          </a:p>
        </p:txBody>
      </p:sp>
      <p:sp>
        <p:nvSpPr>
          <p:cNvPr id="6" name="Tekstvak 5"/>
          <p:cNvSpPr txBox="1"/>
          <p:nvPr/>
        </p:nvSpPr>
        <p:spPr>
          <a:xfrm>
            <a:off x="1563795" y="511911"/>
            <a:ext cx="7345255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nl-NL" sz="1600" b="1" spc="9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Kunst van adequate beinvloeding</a:t>
            </a:r>
            <a:endParaRPr lang="nl-NL" sz="1600" b="1" i="1" spc="9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</p:txBody>
      </p:sp>
      <p:sp>
        <p:nvSpPr>
          <p:cNvPr id="10" name="object 25"/>
          <p:cNvSpPr txBox="1"/>
          <p:nvPr/>
        </p:nvSpPr>
        <p:spPr>
          <a:xfrm>
            <a:off x="6259422" y="3933882"/>
            <a:ext cx="2681370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nl-NL" sz="1400" spc="100" dirty="0">
                <a:cs typeface="Arial"/>
              </a:rPr>
              <a:t>de kern van de opgave</a:t>
            </a:r>
          </a:p>
          <a:p>
            <a:endParaRPr lang="nl-NL" sz="1400" spc="100" dirty="0">
              <a:cs typeface="Arial"/>
            </a:endParaRPr>
          </a:p>
          <a:p>
            <a:r>
              <a:rPr lang="nl-NL" sz="1400" spc="100" dirty="0">
                <a:cs typeface="Arial"/>
              </a:rPr>
              <a:t>om een probleem op te lossen, moet je het soms groter en soms kleiner </a:t>
            </a:r>
          </a:p>
          <a:p>
            <a:r>
              <a:rPr lang="nl-NL" sz="1400" spc="100" dirty="0">
                <a:cs typeface="Arial"/>
              </a:rPr>
              <a:t>maken</a:t>
            </a:r>
          </a:p>
          <a:p>
            <a:endParaRPr lang="nl-NL" sz="1400" spc="100" dirty="0">
              <a:cs typeface="Arial"/>
            </a:endParaRPr>
          </a:p>
          <a:p>
            <a:r>
              <a:rPr lang="nl-NL" sz="1400" spc="100" dirty="0">
                <a:cs typeface="Arial"/>
              </a:rPr>
              <a:t>geen tijd spenderen aan </a:t>
            </a:r>
          </a:p>
          <a:p>
            <a:r>
              <a:rPr lang="nl-NL" sz="1400" spc="100" dirty="0">
                <a:cs typeface="Arial"/>
              </a:rPr>
              <a:t>de niet-relevante omgeving</a:t>
            </a:r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7208" y="4000502"/>
            <a:ext cx="723900" cy="127000"/>
          </a:xfrm>
          <a:prstGeom prst="rect">
            <a:avLst/>
          </a:prstGeom>
        </p:spPr>
      </p:pic>
      <p:pic>
        <p:nvPicPr>
          <p:cNvPr id="13" name="Afbeelding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7208" y="5545669"/>
            <a:ext cx="723900" cy="38100"/>
          </a:xfrm>
          <a:prstGeom prst="rect">
            <a:avLst/>
          </a:prstGeom>
        </p:spPr>
      </p:pic>
      <p:sp>
        <p:nvSpPr>
          <p:cNvPr id="15" name="Rechthoek 14"/>
          <p:cNvSpPr/>
          <p:nvPr/>
        </p:nvSpPr>
        <p:spPr>
          <a:xfrm>
            <a:off x="5249333" y="4415367"/>
            <a:ext cx="723900" cy="330200"/>
          </a:xfrm>
          <a:prstGeom prst="rect">
            <a:avLst/>
          </a:prstGeom>
          <a:gradFill flip="none" rotWithShape="1">
            <a:gsLst>
              <a:gs pos="0">
                <a:srgbClr val="EFAA90"/>
              </a:gs>
              <a:gs pos="50000">
                <a:srgbClr val="FF0000"/>
              </a:gs>
              <a:gs pos="100000">
                <a:srgbClr val="EFAA90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4660" y="1493520"/>
            <a:ext cx="4234180" cy="4234180"/>
          </a:xfrm>
          <a:prstGeom prst="rect">
            <a:avLst/>
          </a:prstGeom>
        </p:spPr>
      </p:pic>
      <p:pic>
        <p:nvPicPr>
          <p:cNvPr id="12" name="Picture 10" descr="tu-skg-fc_kl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931" y="5957891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hoek 3"/>
          <p:cNvSpPr/>
          <p:nvPr/>
        </p:nvSpPr>
        <p:spPr>
          <a:xfrm>
            <a:off x="204288" y="6392659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</p:spTree>
    <p:extLst>
      <p:ext uri="{BB962C8B-B14F-4D97-AF65-F5344CB8AC3E}">
        <p14:creationId xmlns:p14="http://schemas.microsoft.com/office/powerpoint/2010/main" val="288286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Documents and Settings\dlodder\Bureaublad\POWERPOINT PRESENTATIE-NW-STIJL0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26988" y="-5081"/>
            <a:ext cx="9170988" cy="6870701"/>
          </a:xfrm>
          <a:prstGeom prst="rect">
            <a:avLst/>
          </a:prstGeom>
          <a:noFill/>
        </p:spPr>
      </p:pic>
      <p:sp>
        <p:nvSpPr>
          <p:cNvPr id="16" name="Tekstvak 15"/>
          <p:cNvSpPr txBox="1"/>
          <p:nvPr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werPoint presentatie Lelystad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Afbeelding 3" descr="Stadhuisplein2014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" y="2319620"/>
            <a:ext cx="6804247" cy="4538380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1835696" y="1772816"/>
            <a:ext cx="50405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erinrichting stadhuisplein</a:t>
            </a:r>
            <a:endParaRPr lang="nl-NL" sz="2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07919" y="2308573"/>
            <a:ext cx="2336081" cy="455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kstvak 1"/>
          <p:cNvSpPr txBox="1"/>
          <p:nvPr/>
        </p:nvSpPr>
        <p:spPr>
          <a:xfrm>
            <a:off x="3277155" y="160020"/>
            <a:ext cx="1793761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4000" b="1" dirty="0" smtClean="0"/>
              <a:t>CASUS</a:t>
            </a:r>
          </a:p>
        </p:txBody>
      </p:sp>
    </p:spTree>
    <p:extLst>
      <p:ext uri="{BB962C8B-B14F-4D97-AF65-F5344CB8AC3E}">
        <p14:creationId xmlns:p14="http://schemas.microsoft.com/office/powerpoint/2010/main" val="212666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764704"/>
          </a:xfrm>
        </p:spPr>
        <p:txBody>
          <a:bodyPr/>
          <a:lstStyle/>
          <a:p>
            <a:pPr algn="ctr"/>
            <a:r>
              <a:rPr lang="nl-NL" sz="3600" b="1" dirty="0" smtClean="0">
                <a:solidFill>
                  <a:srgbClr val="002060"/>
                </a:solidFill>
                <a:latin typeface="+mn-lt"/>
              </a:rPr>
              <a:t>De vraag: </a:t>
            </a:r>
            <a:r>
              <a:rPr lang="nl-NL" sz="3600" b="1" dirty="0" smtClean="0">
                <a:solidFill>
                  <a:srgbClr val="FF0000"/>
                </a:solidFill>
                <a:latin typeface="+mn-lt"/>
              </a:rPr>
              <a:t>“ik wil naar de top”</a:t>
            </a:r>
          </a:p>
        </p:txBody>
      </p:sp>
      <p:pic>
        <p:nvPicPr>
          <p:cNvPr id="235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980" y="1476375"/>
            <a:ext cx="9144000" cy="538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310603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/>
        </p:nvSpPr>
        <p:spPr>
          <a:xfrm>
            <a:off x="3027300" y="1560314"/>
            <a:ext cx="38908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</a:rPr>
              <a:t>Oplossing 1 (traditioneel)</a:t>
            </a:r>
            <a:endParaRPr lang="nl-NL" sz="2400" dirty="0"/>
          </a:p>
        </p:txBody>
      </p:sp>
      <p:sp>
        <p:nvSpPr>
          <p:cNvPr id="3" name="Rechthoek 2"/>
          <p:cNvSpPr/>
          <p:nvPr/>
        </p:nvSpPr>
        <p:spPr>
          <a:xfrm>
            <a:off x="1120140" y="2145587"/>
            <a:ext cx="439222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nl-NL" sz="2000" b="1" dirty="0">
                <a:solidFill>
                  <a:srgbClr val="FF0000"/>
                </a:solidFill>
              </a:rPr>
              <a:t>Huur een bergbeklimmer in en: </a:t>
            </a:r>
          </a:p>
        </p:txBody>
      </p:sp>
      <p:sp>
        <p:nvSpPr>
          <p:cNvPr id="4" name="Rechthoek 3"/>
          <p:cNvSpPr/>
          <p:nvPr/>
        </p:nvSpPr>
        <p:spPr>
          <a:xfrm>
            <a:off x="-13686" y="2586696"/>
            <a:ext cx="9144000" cy="395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nl-NL" sz="2000" dirty="0"/>
              <a:t>vertel hem hoe hij de berg moet beklimmen en welke gereedschappen hij moet gebruiken; </a:t>
            </a:r>
          </a:p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nl-NL" sz="2000" dirty="0"/>
              <a:t>vertel hem dat je een betere manier hebt om de berg te beklimmen; </a:t>
            </a:r>
          </a:p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nl-NL" sz="2000" dirty="0"/>
              <a:t>vertel hem hoe hij zijn team moet samenstellen; </a:t>
            </a:r>
          </a:p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nl-NL" sz="2000" dirty="0"/>
              <a:t>vertel hem dat het best sneller kan; </a:t>
            </a:r>
          </a:p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nl-NL" sz="2000" dirty="0"/>
              <a:t>vertel hem dat het goedkoper kan; </a:t>
            </a:r>
          </a:p>
          <a:p>
            <a:pPr marL="1079500" indent="-719138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nl-NL" sz="2000" dirty="0"/>
              <a:t>huur anderen in om de ingehuurde bergbeklimmer te vertellen hoe hij moet bergbeklimmen.</a:t>
            </a:r>
          </a:p>
          <a:p>
            <a:pPr marL="719138" indent="-719138">
              <a:buClrTx/>
              <a:buFont typeface="Wingdings" pitchFamily="2" charset="2"/>
              <a:buChar char="Ø"/>
            </a:pP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10117458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/>
        </p:nvSpPr>
        <p:spPr>
          <a:xfrm>
            <a:off x="3320581" y="1464369"/>
            <a:ext cx="286649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400" b="1" dirty="0">
                <a:solidFill>
                  <a:srgbClr val="002060"/>
                </a:solidFill>
              </a:rPr>
              <a:t>Oplossing 2 (BVP)</a:t>
            </a:r>
            <a:endParaRPr lang="nl-NL" sz="2400" dirty="0"/>
          </a:p>
        </p:txBody>
      </p:sp>
      <p:sp>
        <p:nvSpPr>
          <p:cNvPr id="3" name="Rechthoek 2"/>
          <p:cNvSpPr/>
          <p:nvPr/>
        </p:nvSpPr>
        <p:spPr>
          <a:xfrm>
            <a:off x="769620" y="2228195"/>
            <a:ext cx="59055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79500" indent="-719138">
              <a:buNone/>
            </a:pPr>
            <a:r>
              <a:rPr lang="nl-NL" sz="2000" b="1" dirty="0">
                <a:solidFill>
                  <a:srgbClr val="FF0000"/>
                </a:solidFill>
              </a:rPr>
              <a:t>Huur een </a:t>
            </a:r>
            <a:r>
              <a:rPr lang="nl-NL" sz="2000" b="1" u="sng" dirty="0">
                <a:solidFill>
                  <a:srgbClr val="FF0000"/>
                </a:solidFill>
              </a:rPr>
              <a:t>ervaren</a:t>
            </a:r>
            <a:r>
              <a:rPr lang="nl-NL" sz="2000" b="1" dirty="0">
                <a:solidFill>
                  <a:srgbClr val="FF0000"/>
                </a:solidFill>
              </a:rPr>
              <a:t> bergbeklimmer in en: </a:t>
            </a:r>
          </a:p>
          <a:p>
            <a:pPr marL="1079500" indent="-719138">
              <a:buClrTx/>
              <a:buFont typeface="Wingdings" pitchFamily="2" charset="2"/>
              <a:buChar char="Ø"/>
            </a:pPr>
            <a:r>
              <a:rPr lang="nl-NL" sz="2000" dirty="0"/>
              <a:t>laat je naar de top leiden!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3000" y="2986549"/>
            <a:ext cx="5976664" cy="3871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675090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144000" cy="836712"/>
          </a:xfrm>
        </p:spPr>
        <p:txBody>
          <a:bodyPr>
            <a:normAutofit fontScale="90000"/>
          </a:bodyPr>
          <a:lstStyle/>
          <a:p>
            <a:pPr algn="ctr"/>
            <a:r>
              <a:rPr lang="nl-NL" sz="3600" b="1" dirty="0" smtClean="0">
                <a:solidFill>
                  <a:srgbClr val="002060"/>
                </a:solidFill>
                <a:latin typeface="+mn-lt"/>
              </a:rPr>
              <a:t>Oplossing 2: </a:t>
            </a:r>
            <a:r>
              <a:rPr lang="nl-NL" sz="3600" b="1" dirty="0" smtClean="0">
                <a:solidFill>
                  <a:srgbClr val="FF0000"/>
                </a:solidFill>
                <a:latin typeface="+mn-lt"/>
              </a:rPr>
              <a:t>“accepteer de oplossing van de </a:t>
            </a:r>
            <a:br>
              <a:rPr lang="nl-NL" sz="3600" b="1" dirty="0" smtClean="0">
                <a:solidFill>
                  <a:srgbClr val="FF0000"/>
                </a:solidFill>
                <a:latin typeface="+mn-lt"/>
              </a:rPr>
            </a:br>
            <a:r>
              <a:rPr lang="nl-NL" sz="3600" b="1" dirty="0" smtClean="0">
                <a:solidFill>
                  <a:srgbClr val="FF0000"/>
                </a:solidFill>
                <a:latin typeface="+mn-lt"/>
              </a:rPr>
              <a:t>ervaren bergbeklimmer”</a:t>
            </a:r>
          </a:p>
        </p:txBody>
      </p:sp>
      <p:pic>
        <p:nvPicPr>
          <p:cNvPr id="235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476375"/>
            <a:ext cx="9173980" cy="5399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Vrije vorm 5"/>
          <p:cNvSpPr/>
          <p:nvPr/>
        </p:nvSpPr>
        <p:spPr>
          <a:xfrm>
            <a:off x="2949402" y="1754619"/>
            <a:ext cx="1960283" cy="4886024"/>
          </a:xfrm>
          <a:custGeom>
            <a:avLst/>
            <a:gdLst>
              <a:gd name="connsiteX0" fmla="*/ 453365 w 1960283"/>
              <a:gd name="connsiteY0" fmla="*/ 4886024 h 4886024"/>
              <a:gd name="connsiteX1" fmla="*/ 543306 w 1960283"/>
              <a:gd name="connsiteY1" fmla="*/ 4841053 h 4886024"/>
              <a:gd name="connsiteX2" fmla="*/ 573287 w 1960283"/>
              <a:gd name="connsiteY2" fmla="*/ 4811073 h 4886024"/>
              <a:gd name="connsiteX3" fmla="*/ 618257 w 1960283"/>
              <a:gd name="connsiteY3" fmla="*/ 4796083 h 4886024"/>
              <a:gd name="connsiteX4" fmla="*/ 723188 w 1960283"/>
              <a:gd name="connsiteY4" fmla="*/ 4706142 h 4886024"/>
              <a:gd name="connsiteX5" fmla="*/ 798139 w 1960283"/>
              <a:gd name="connsiteY5" fmla="*/ 4646181 h 4886024"/>
              <a:gd name="connsiteX6" fmla="*/ 888080 w 1960283"/>
              <a:gd name="connsiteY6" fmla="*/ 4616201 h 4886024"/>
              <a:gd name="connsiteX7" fmla="*/ 978021 w 1960283"/>
              <a:gd name="connsiteY7" fmla="*/ 4586220 h 4886024"/>
              <a:gd name="connsiteX8" fmla="*/ 1022991 w 1960283"/>
              <a:gd name="connsiteY8" fmla="*/ 4571230 h 4886024"/>
              <a:gd name="connsiteX9" fmla="*/ 1112932 w 1960283"/>
              <a:gd name="connsiteY9" fmla="*/ 4526260 h 4886024"/>
              <a:gd name="connsiteX10" fmla="*/ 1157903 w 1960283"/>
              <a:gd name="connsiteY10" fmla="*/ 4496279 h 4886024"/>
              <a:gd name="connsiteX11" fmla="*/ 1187883 w 1960283"/>
              <a:gd name="connsiteY11" fmla="*/ 4451309 h 4886024"/>
              <a:gd name="connsiteX12" fmla="*/ 1172893 w 1960283"/>
              <a:gd name="connsiteY12" fmla="*/ 4406338 h 4886024"/>
              <a:gd name="connsiteX13" fmla="*/ 1052972 w 1960283"/>
              <a:gd name="connsiteY13" fmla="*/ 4346378 h 4886024"/>
              <a:gd name="connsiteX14" fmla="*/ 978021 w 1960283"/>
              <a:gd name="connsiteY14" fmla="*/ 4301407 h 4886024"/>
              <a:gd name="connsiteX15" fmla="*/ 933050 w 1960283"/>
              <a:gd name="connsiteY15" fmla="*/ 4256437 h 4886024"/>
              <a:gd name="connsiteX16" fmla="*/ 828119 w 1960283"/>
              <a:gd name="connsiteY16" fmla="*/ 4226456 h 4886024"/>
              <a:gd name="connsiteX17" fmla="*/ 738178 w 1960283"/>
              <a:gd name="connsiteY17" fmla="*/ 4196476 h 4886024"/>
              <a:gd name="connsiteX18" fmla="*/ 648237 w 1960283"/>
              <a:gd name="connsiteY18" fmla="*/ 4166496 h 4886024"/>
              <a:gd name="connsiteX19" fmla="*/ 603267 w 1960283"/>
              <a:gd name="connsiteY19" fmla="*/ 4151506 h 4886024"/>
              <a:gd name="connsiteX20" fmla="*/ 513326 w 1960283"/>
              <a:gd name="connsiteY20" fmla="*/ 4106535 h 4886024"/>
              <a:gd name="connsiteX21" fmla="*/ 438375 w 1960283"/>
              <a:gd name="connsiteY21" fmla="*/ 4046574 h 4886024"/>
              <a:gd name="connsiteX22" fmla="*/ 333444 w 1960283"/>
              <a:gd name="connsiteY22" fmla="*/ 3986614 h 4886024"/>
              <a:gd name="connsiteX23" fmla="*/ 303464 w 1960283"/>
              <a:gd name="connsiteY23" fmla="*/ 3956633 h 4886024"/>
              <a:gd name="connsiteX24" fmla="*/ 213523 w 1960283"/>
              <a:gd name="connsiteY24" fmla="*/ 3911663 h 4886024"/>
              <a:gd name="connsiteX25" fmla="*/ 138572 w 1960283"/>
              <a:gd name="connsiteY25" fmla="*/ 3836712 h 4886024"/>
              <a:gd name="connsiteX26" fmla="*/ 108591 w 1960283"/>
              <a:gd name="connsiteY26" fmla="*/ 3806732 h 4886024"/>
              <a:gd name="connsiteX27" fmla="*/ 63621 w 1960283"/>
              <a:gd name="connsiteY27" fmla="*/ 3791742 h 4886024"/>
              <a:gd name="connsiteX28" fmla="*/ 3660 w 1960283"/>
              <a:gd name="connsiteY28" fmla="*/ 3731781 h 4886024"/>
              <a:gd name="connsiteX29" fmla="*/ 18650 w 1960283"/>
              <a:gd name="connsiteY29" fmla="*/ 3581879 h 4886024"/>
              <a:gd name="connsiteX30" fmla="*/ 138572 w 1960283"/>
              <a:gd name="connsiteY30" fmla="*/ 3491938 h 4886024"/>
              <a:gd name="connsiteX31" fmla="*/ 228513 w 1960283"/>
              <a:gd name="connsiteY31" fmla="*/ 3446968 h 4886024"/>
              <a:gd name="connsiteX32" fmla="*/ 273483 w 1960283"/>
              <a:gd name="connsiteY32" fmla="*/ 3416988 h 4886024"/>
              <a:gd name="connsiteX33" fmla="*/ 423385 w 1960283"/>
              <a:gd name="connsiteY33" fmla="*/ 3372017 h 4886024"/>
              <a:gd name="connsiteX34" fmla="*/ 468355 w 1960283"/>
              <a:gd name="connsiteY34" fmla="*/ 3342037 h 4886024"/>
              <a:gd name="connsiteX35" fmla="*/ 528316 w 1960283"/>
              <a:gd name="connsiteY35" fmla="*/ 3327047 h 4886024"/>
              <a:gd name="connsiteX36" fmla="*/ 618257 w 1960283"/>
              <a:gd name="connsiteY36" fmla="*/ 3297066 h 4886024"/>
              <a:gd name="connsiteX37" fmla="*/ 663228 w 1960283"/>
              <a:gd name="connsiteY37" fmla="*/ 3282076 h 4886024"/>
              <a:gd name="connsiteX38" fmla="*/ 708198 w 1960283"/>
              <a:gd name="connsiteY38" fmla="*/ 3267086 h 4886024"/>
              <a:gd name="connsiteX39" fmla="*/ 753168 w 1960283"/>
              <a:gd name="connsiteY39" fmla="*/ 3252096 h 4886024"/>
              <a:gd name="connsiteX40" fmla="*/ 798139 w 1960283"/>
              <a:gd name="connsiteY40" fmla="*/ 3222115 h 4886024"/>
              <a:gd name="connsiteX41" fmla="*/ 948041 w 1960283"/>
              <a:gd name="connsiteY41" fmla="*/ 3177145 h 4886024"/>
              <a:gd name="connsiteX42" fmla="*/ 1037982 w 1960283"/>
              <a:gd name="connsiteY42" fmla="*/ 3147165 h 4886024"/>
              <a:gd name="connsiteX43" fmla="*/ 1082952 w 1960283"/>
              <a:gd name="connsiteY43" fmla="*/ 3132174 h 4886024"/>
              <a:gd name="connsiteX44" fmla="*/ 1127923 w 1960283"/>
              <a:gd name="connsiteY44" fmla="*/ 3117184 h 4886024"/>
              <a:gd name="connsiteX45" fmla="*/ 1262834 w 1960283"/>
              <a:gd name="connsiteY45" fmla="*/ 3057224 h 4886024"/>
              <a:gd name="connsiteX46" fmla="*/ 1307805 w 1960283"/>
              <a:gd name="connsiteY46" fmla="*/ 3042233 h 4886024"/>
              <a:gd name="connsiteX47" fmla="*/ 1352775 w 1960283"/>
              <a:gd name="connsiteY47" fmla="*/ 3027243 h 4886024"/>
              <a:gd name="connsiteX48" fmla="*/ 1397746 w 1960283"/>
              <a:gd name="connsiteY48" fmla="*/ 2997263 h 4886024"/>
              <a:gd name="connsiteX49" fmla="*/ 1487687 w 1960283"/>
              <a:gd name="connsiteY49" fmla="*/ 2967283 h 4886024"/>
              <a:gd name="connsiteX50" fmla="*/ 1532657 w 1960283"/>
              <a:gd name="connsiteY50" fmla="*/ 2937302 h 4886024"/>
              <a:gd name="connsiteX51" fmla="*/ 1622598 w 1960283"/>
              <a:gd name="connsiteY51" fmla="*/ 2907322 h 4886024"/>
              <a:gd name="connsiteX52" fmla="*/ 1712539 w 1960283"/>
              <a:gd name="connsiteY52" fmla="*/ 2847361 h 4886024"/>
              <a:gd name="connsiteX53" fmla="*/ 1757509 w 1960283"/>
              <a:gd name="connsiteY53" fmla="*/ 2817381 h 4886024"/>
              <a:gd name="connsiteX54" fmla="*/ 1802480 w 1960283"/>
              <a:gd name="connsiteY54" fmla="*/ 2802391 h 4886024"/>
              <a:gd name="connsiteX55" fmla="*/ 1832460 w 1960283"/>
              <a:gd name="connsiteY55" fmla="*/ 2757420 h 4886024"/>
              <a:gd name="connsiteX56" fmla="*/ 1862441 w 1960283"/>
              <a:gd name="connsiteY56" fmla="*/ 2727440 h 4886024"/>
              <a:gd name="connsiteX57" fmla="*/ 1907411 w 1960283"/>
              <a:gd name="connsiteY57" fmla="*/ 2652489 h 4886024"/>
              <a:gd name="connsiteX58" fmla="*/ 1907411 w 1960283"/>
              <a:gd name="connsiteY58" fmla="*/ 1977932 h 4886024"/>
              <a:gd name="connsiteX59" fmla="*/ 1892421 w 1960283"/>
              <a:gd name="connsiteY59" fmla="*/ 1917971 h 4886024"/>
              <a:gd name="connsiteX60" fmla="*/ 1847450 w 1960283"/>
              <a:gd name="connsiteY60" fmla="*/ 1828030 h 4886024"/>
              <a:gd name="connsiteX61" fmla="*/ 1817470 w 1960283"/>
              <a:gd name="connsiteY61" fmla="*/ 1678129 h 4886024"/>
              <a:gd name="connsiteX62" fmla="*/ 1787490 w 1960283"/>
              <a:gd name="connsiteY62" fmla="*/ 1588188 h 4886024"/>
              <a:gd name="connsiteX63" fmla="*/ 1772500 w 1960283"/>
              <a:gd name="connsiteY63" fmla="*/ 1513237 h 4886024"/>
              <a:gd name="connsiteX64" fmla="*/ 1757509 w 1960283"/>
              <a:gd name="connsiteY64" fmla="*/ 1468266 h 4886024"/>
              <a:gd name="connsiteX65" fmla="*/ 1742519 w 1960283"/>
              <a:gd name="connsiteY65" fmla="*/ 1408306 h 4886024"/>
              <a:gd name="connsiteX66" fmla="*/ 1727529 w 1960283"/>
              <a:gd name="connsiteY66" fmla="*/ 1288384 h 4886024"/>
              <a:gd name="connsiteX67" fmla="*/ 1772500 w 1960283"/>
              <a:gd name="connsiteY67" fmla="*/ 1258404 h 4886024"/>
              <a:gd name="connsiteX68" fmla="*/ 1742519 w 1960283"/>
              <a:gd name="connsiteY68" fmla="*/ 1228424 h 4886024"/>
              <a:gd name="connsiteX69" fmla="*/ 1682559 w 1960283"/>
              <a:gd name="connsiteY69" fmla="*/ 1213433 h 4886024"/>
              <a:gd name="connsiteX70" fmla="*/ 1547647 w 1960283"/>
              <a:gd name="connsiteY70" fmla="*/ 1153473 h 4886024"/>
              <a:gd name="connsiteX71" fmla="*/ 1502677 w 1960283"/>
              <a:gd name="connsiteY71" fmla="*/ 1138483 h 4886024"/>
              <a:gd name="connsiteX72" fmla="*/ 1457706 w 1960283"/>
              <a:gd name="connsiteY72" fmla="*/ 1108502 h 4886024"/>
              <a:gd name="connsiteX73" fmla="*/ 1367765 w 1960283"/>
              <a:gd name="connsiteY73" fmla="*/ 1078522 h 4886024"/>
              <a:gd name="connsiteX74" fmla="*/ 1322795 w 1960283"/>
              <a:gd name="connsiteY74" fmla="*/ 1063532 h 4886024"/>
              <a:gd name="connsiteX75" fmla="*/ 1262834 w 1960283"/>
              <a:gd name="connsiteY75" fmla="*/ 1048542 h 4886024"/>
              <a:gd name="connsiteX76" fmla="*/ 1172893 w 1960283"/>
              <a:gd name="connsiteY76" fmla="*/ 1018561 h 4886024"/>
              <a:gd name="connsiteX77" fmla="*/ 1127923 w 1960283"/>
              <a:gd name="connsiteY77" fmla="*/ 988581 h 4886024"/>
              <a:gd name="connsiteX78" fmla="*/ 1008001 w 1960283"/>
              <a:gd name="connsiteY78" fmla="*/ 838679 h 4886024"/>
              <a:gd name="connsiteX79" fmla="*/ 978021 w 1960283"/>
              <a:gd name="connsiteY79" fmla="*/ 793709 h 4886024"/>
              <a:gd name="connsiteX80" fmla="*/ 963031 w 1960283"/>
              <a:gd name="connsiteY80" fmla="*/ 718758 h 4886024"/>
              <a:gd name="connsiteX81" fmla="*/ 1008001 w 1960283"/>
              <a:gd name="connsiteY81" fmla="*/ 493906 h 4886024"/>
              <a:gd name="connsiteX82" fmla="*/ 1037982 w 1960283"/>
              <a:gd name="connsiteY82" fmla="*/ 403965 h 4886024"/>
              <a:gd name="connsiteX83" fmla="*/ 1067962 w 1960283"/>
              <a:gd name="connsiteY83" fmla="*/ 373984 h 4886024"/>
              <a:gd name="connsiteX84" fmla="*/ 1082952 w 1960283"/>
              <a:gd name="connsiteY84" fmla="*/ 149132 h 4886024"/>
              <a:gd name="connsiteX85" fmla="*/ 1097942 w 1960283"/>
              <a:gd name="connsiteY85" fmla="*/ 89171 h 4886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960283" h="4886024">
                <a:moveTo>
                  <a:pt x="453365" y="4886024"/>
                </a:moveTo>
                <a:cubicBezTo>
                  <a:pt x="500864" y="4870190"/>
                  <a:pt x="501793" y="4874263"/>
                  <a:pt x="543306" y="4841053"/>
                </a:cubicBezTo>
                <a:cubicBezTo>
                  <a:pt x="554342" y="4832224"/>
                  <a:pt x="561168" y="4818344"/>
                  <a:pt x="573287" y="4811073"/>
                </a:cubicBezTo>
                <a:cubicBezTo>
                  <a:pt x="586836" y="4802944"/>
                  <a:pt x="603267" y="4801080"/>
                  <a:pt x="618257" y="4796083"/>
                </a:cubicBezTo>
                <a:cubicBezTo>
                  <a:pt x="762606" y="4651734"/>
                  <a:pt x="609033" y="4797468"/>
                  <a:pt x="723188" y="4706142"/>
                </a:cubicBezTo>
                <a:cubicBezTo>
                  <a:pt x="762126" y="4674991"/>
                  <a:pt x="746229" y="4669252"/>
                  <a:pt x="798139" y="4646181"/>
                </a:cubicBezTo>
                <a:cubicBezTo>
                  <a:pt x="827017" y="4633346"/>
                  <a:pt x="858100" y="4626194"/>
                  <a:pt x="888080" y="4616201"/>
                </a:cubicBezTo>
                <a:lnTo>
                  <a:pt x="978021" y="4586220"/>
                </a:lnTo>
                <a:cubicBezTo>
                  <a:pt x="993011" y="4581223"/>
                  <a:pt x="1009844" y="4579995"/>
                  <a:pt x="1022991" y="4571230"/>
                </a:cubicBezTo>
                <a:cubicBezTo>
                  <a:pt x="1081109" y="4532485"/>
                  <a:pt x="1050871" y="4546947"/>
                  <a:pt x="1112932" y="4526260"/>
                </a:cubicBezTo>
                <a:cubicBezTo>
                  <a:pt x="1127922" y="4516266"/>
                  <a:pt x="1145164" y="4509018"/>
                  <a:pt x="1157903" y="4496279"/>
                </a:cubicBezTo>
                <a:cubicBezTo>
                  <a:pt x="1170642" y="4483540"/>
                  <a:pt x="1184921" y="4469080"/>
                  <a:pt x="1187883" y="4451309"/>
                </a:cubicBezTo>
                <a:cubicBezTo>
                  <a:pt x="1190481" y="4435723"/>
                  <a:pt x="1183009" y="4418477"/>
                  <a:pt x="1172893" y="4406338"/>
                </a:cubicBezTo>
                <a:cubicBezTo>
                  <a:pt x="1132661" y="4358060"/>
                  <a:pt x="1107310" y="4359963"/>
                  <a:pt x="1052972" y="4346378"/>
                </a:cubicBezTo>
                <a:cubicBezTo>
                  <a:pt x="959604" y="4253010"/>
                  <a:pt x="1094774" y="4379242"/>
                  <a:pt x="978021" y="4301407"/>
                </a:cubicBezTo>
                <a:cubicBezTo>
                  <a:pt x="960382" y="4289648"/>
                  <a:pt x="950689" y="4268196"/>
                  <a:pt x="933050" y="4256437"/>
                </a:cubicBezTo>
                <a:cubicBezTo>
                  <a:pt x="919313" y="4247279"/>
                  <a:pt x="837202" y="4229181"/>
                  <a:pt x="828119" y="4226456"/>
                </a:cubicBezTo>
                <a:cubicBezTo>
                  <a:pt x="797850" y="4217375"/>
                  <a:pt x="768158" y="4206469"/>
                  <a:pt x="738178" y="4196476"/>
                </a:cubicBezTo>
                <a:lnTo>
                  <a:pt x="648237" y="4166496"/>
                </a:lnTo>
                <a:lnTo>
                  <a:pt x="603267" y="4151506"/>
                </a:lnTo>
                <a:cubicBezTo>
                  <a:pt x="542928" y="4091165"/>
                  <a:pt x="610018" y="4147974"/>
                  <a:pt x="513326" y="4106535"/>
                </a:cubicBezTo>
                <a:cubicBezTo>
                  <a:pt x="467538" y="4086912"/>
                  <a:pt x="472510" y="4075020"/>
                  <a:pt x="438375" y="4046574"/>
                </a:cubicBezTo>
                <a:cubicBezTo>
                  <a:pt x="377876" y="3996158"/>
                  <a:pt x="394461" y="4006953"/>
                  <a:pt x="333444" y="3986614"/>
                </a:cubicBezTo>
                <a:cubicBezTo>
                  <a:pt x="323451" y="3976620"/>
                  <a:pt x="315583" y="3963904"/>
                  <a:pt x="303464" y="3956633"/>
                </a:cubicBezTo>
                <a:cubicBezTo>
                  <a:pt x="219833" y="3906454"/>
                  <a:pt x="296232" y="3984033"/>
                  <a:pt x="213523" y="3911663"/>
                </a:cubicBezTo>
                <a:cubicBezTo>
                  <a:pt x="186933" y="3888397"/>
                  <a:pt x="163556" y="3861696"/>
                  <a:pt x="138572" y="3836712"/>
                </a:cubicBezTo>
                <a:cubicBezTo>
                  <a:pt x="128578" y="3826719"/>
                  <a:pt x="121999" y="3811201"/>
                  <a:pt x="108591" y="3806732"/>
                </a:cubicBezTo>
                <a:lnTo>
                  <a:pt x="63621" y="3791742"/>
                </a:lnTo>
                <a:cubicBezTo>
                  <a:pt x="43634" y="3771755"/>
                  <a:pt x="847" y="3759907"/>
                  <a:pt x="3660" y="3731781"/>
                </a:cubicBezTo>
                <a:cubicBezTo>
                  <a:pt x="8657" y="3681814"/>
                  <a:pt x="0" y="3628504"/>
                  <a:pt x="18650" y="3581879"/>
                </a:cubicBezTo>
                <a:cubicBezTo>
                  <a:pt x="54805" y="3491492"/>
                  <a:pt x="82430" y="3520009"/>
                  <a:pt x="138572" y="3491938"/>
                </a:cubicBezTo>
                <a:cubicBezTo>
                  <a:pt x="254800" y="3433823"/>
                  <a:pt x="115483" y="3484644"/>
                  <a:pt x="228513" y="3446968"/>
                </a:cubicBezTo>
                <a:cubicBezTo>
                  <a:pt x="243503" y="3436975"/>
                  <a:pt x="257020" y="3424305"/>
                  <a:pt x="273483" y="3416988"/>
                </a:cubicBezTo>
                <a:cubicBezTo>
                  <a:pt x="320410" y="3396131"/>
                  <a:pt x="373549" y="3384476"/>
                  <a:pt x="423385" y="3372017"/>
                </a:cubicBezTo>
                <a:cubicBezTo>
                  <a:pt x="438375" y="3362024"/>
                  <a:pt x="451796" y="3349134"/>
                  <a:pt x="468355" y="3342037"/>
                </a:cubicBezTo>
                <a:cubicBezTo>
                  <a:pt x="487291" y="3333921"/>
                  <a:pt x="508583" y="3332967"/>
                  <a:pt x="528316" y="3327047"/>
                </a:cubicBezTo>
                <a:cubicBezTo>
                  <a:pt x="558585" y="3317966"/>
                  <a:pt x="588277" y="3307060"/>
                  <a:pt x="618257" y="3297066"/>
                </a:cubicBezTo>
                <a:lnTo>
                  <a:pt x="663228" y="3282076"/>
                </a:lnTo>
                <a:lnTo>
                  <a:pt x="708198" y="3267086"/>
                </a:lnTo>
                <a:lnTo>
                  <a:pt x="753168" y="3252096"/>
                </a:lnTo>
                <a:cubicBezTo>
                  <a:pt x="768158" y="3242102"/>
                  <a:pt x="781676" y="3229432"/>
                  <a:pt x="798139" y="3222115"/>
                </a:cubicBezTo>
                <a:cubicBezTo>
                  <a:pt x="871519" y="3189501"/>
                  <a:pt x="880960" y="3197269"/>
                  <a:pt x="948041" y="3177145"/>
                </a:cubicBezTo>
                <a:cubicBezTo>
                  <a:pt x="978310" y="3168064"/>
                  <a:pt x="1008002" y="3157159"/>
                  <a:pt x="1037982" y="3147165"/>
                </a:cubicBezTo>
                <a:lnTo>
                  <a:pt x="1082952" y="3132174"/>
                </a:lnTo>
                <a:lnTo>
                  <a:pt x="1127923" y="3117184"/>
                </a:lnTo>
                <a:cubicBezTo>
                  <a:pt x="1199189" y="3069674"/>
                  <a:pt x="1155800" y="3092902"/>
                  <a:pt x="1262834" y="3057224"/>
                </a:cubicBezTo>
                <a:lnTo>
                  <a:pt x="1307805" y="3042233"/>
                </a:lnTo>
                <a:cubicBezTo>
                  <a:pt x="1322795" y="3037236"/>
                  <a:pt x="1339628" y="3036008"/>
                  <a:pt x="1352775" y="3027243"/>
                </a:cubicBezTo>
                <a:cubicBezTo>
                  <a:pt x="1367765" y="3017250"/>
                  <a:pt x="1381283" y="3004580"/>
                  <a:pt x="1397746" y="2997263"/>
                </a:cubicBezTo>
                <a:cubicBezTo>
                  <a:pt x="1426624" y="2984428"/>
                  <a:pt x="1487687" y="2967283"/>
                  <a:pt x="1487687" y="2967283"/>
                </a:cubicBezTo>
                <a:cubicBezTo>
                  <a:pt x="1502677" y="2957289"/>
                  <a:pt x="1516194" y="2944619"/>
                  <a:pt x="1532657" y="2937302"/>
                </a:cubicBezTo>
                <a:cubicBezTo>
                  <a:pt x="1561535" y="2924467"/>
                  <a:pt x="1596304" y="2924852"/>
                  <a:pt x="1622598" y="2907322"/>
                </a:cubicBezTo>
                <a:lnTo>
                  <a:pt x="1712539" y="2847361"/>
                </a:lnTo>
                <a:cubicBezTo>
                  <a:pt x="1727529" y="2837368"/>
                  <a:pt x="1740418" y="2823078"/>
                  <a:pt x="1757509" y="2817381"/>
                </a:cubicBezTo>
                <a:lnTo>
                  <a:pt x="1802480" y="2802391"/>
                </a:lnTo>
                <a:cubicBezTo>
                  <a:pt x="1812473" y="2787401"/>
                  <a:pt x="1821205" y="2771488"/>
                  <a:pt x="1832460" y="2757420"/>
                </a:cubicBezTo>
                <a:cubicBezTo>
                  <a:pt x="1841289" y="2746384"/>
                  <a:pt x="1855170" y="2739559"/>
                  <a:pt x="1862441" y="2727440"/>
                </a:cubicBezTo>
                <a:cubicBezTo>
                  <a:pt x="1920824" y="2630137"/>
                  <a:pt x="1831443" y="2728459"/>
                  <a:pt x="1907411" y="2652489"/>
                </a:cubicBezTo>
                <a:cubicBezTo>
                  <a:pt x="1960283" y="2388127"/>
                  <a:pt x="1933456" y="2550919"/>
                  <a:pt x="1907411" y="1977932"/>
                </a:cubicBezTo>
                <a:cubicBezTo>
                  <a:pt x="1906476" y="1957351"/>
                  <a:pt x="1898081" y="1937780"/>
                  <a:pt x="1892421" y="1917971"/>
                </a:cubicBezTo>
                <a:cubicBezTo>
                  <a:pt x="1876906" y="1863667"/>
                  <a:pt x="1880299" y="1877302"/>
                  <a:pt x="1847450" y="1828030"/>
                </a:cubicBezTo>
                <a:cubicBezTo>
                  <a:pt x="1837320" y="1767251"/>
                  <a:pt x="1834241" y="1734034"/>
                  <a:pt x="1817470" y="1678129"/>
                </a:cubicBezTo>
                <a:cubicBezTo>
                  <a:pt x="1808389" y="1647860"/>
                  <a:pt x="1793688" y="1619176"/>
                  <a:pt x="1787490" y="1588188"/>
                </a:cubicBezTo>
                <a:cubicBezTo>
                  <a:pt x="1782493" y="1563204"/>
                  <a:pt x="1778680" y="1537955"/>
                  <a:pt x="1772500" y="1513237"/>
                </a:cubicBezTo>
                <a:cubicBezTo>
                  <a:pt x="1768668" y="1497908"/>
                  <a:pt x="1761850" y="1483459"/>
                  <a:pt x="1757509" y="1468266"/>
                </a:cubicBezTo>
                <a:cubicBezTo>
                  <a:pt x="1751849" y="1448457"/>
                  <a:pt x="1747516" y="1428293"/>
                  <a:pt x="1742519" y="1408306"/>
                </a:cubicBezTo>
                <a:cubicBezTo>
                  <a:pt x="1737522" y="1368332"/>
                  <a:pt x="1719628" y="1327887"/>
                  <a:pt x="1727529" y="1288384"/>
                </a:cubicBezTo>
                <a:cubicBezTo>
                  <a:pt x="1731062" y="1270718"/>
                  <a:pt x="1768130" y="1275882"/>
                  <a:pt x="1772500" y="1258404"/>
                </a:cubicBezTo>
                <a:cubicBezTo>
                  <a:pt x="1775928" y="1244693"/>
                  <a:pt x="1755160" y="1234745"/>
                  <a:pt x="1742519" y="1228424"/>
                </a:cubicBezTo>
                <a:cubicBezTo>
                  <a:pt x="1724092" y="1219210"/>
                  <a:pt x="1702546" y="1218430"/>
                  <a:pt x="1682559" y="1213433"/>
                </a:cubicBezTo>
                <a:cubicBezTo>
                  <a:pt x="1611293" y="1165923"/>
                  <a:pt x="1654680" y="1189150"/>
                  <a:pt x="1547647" y="1153473"/>
                </a:cubicBezTo>
                <a:lnTo>
                  <a:pt x="1502677" y="1138483"/>
                </a:lnTo>
                <a:cubicBezTo>
                  <a:pt x="1487687" y="1128489"/>
                  <a:pt x="1474169" y="1115819"/>
                  <a:pt x="1457706" y="1108502"/>
                </a:cubicBezTo>
                <a:cubicBezTo>
                  <a:pt x="1428828" y="1095667"/>
                  <a:pt x="1397745" y="1088515"/>
                  <a:pt x="1367765" y="1078522"/>
                </a:cubicBezTo>
                <a:cubicBezTo>
                  <a:pt x="1352775" y="1073525"/>
                  <a:pt x="1338124" y="1067364"/>
                  <a:pt x="1322795" y="1063532"/>
                </a:cubicBezTo>
                <a:cubicBezTo>
                  <a:pt x="1302808" y="1058535"/>
                  <a:pt x="1282567" y="1054462"/>
                  <a:pt x="1262834" y="1048542"/>
                </a:cubicBezTo>
                <a:cubicBezTo>
                  <a:pt x="1232565" y="1039461"/>
                  <a:pt x="1172893" y="1018561"/>
                  <a:pt x="1172893" y="1018561"/>
                </a:cubicBezTo>
                <a:cubicBezTo>
                  <a:pt x="1157903" y="1008568"/>
                  <a:pt x="1141602" y="1000305"/>
                  <a:pt x="1127923" y="988581"/>
                </a:cubicBezTo>
                <a:cubicBezTo>
                  <a:pt x="1061470" y="931622"/>
                  <a:pt x="1059438" y="915834"/>
                  <a:pt x="1008001" y="838679"/>
                </a:cubicBezTo>
                <a:lnTo>
                  <a:pt x="978021" y="793709"/>
                </a:lnTo>
                <a:cubicBezTo>
                  <a:pt x="973024" y="768725"/>
                  <a:pt x="963031" y="744236"/>
                  <a:pt x="963031" y="718758"/>
                </a:cubicBezTo>
                <a:cubicBezTo>
                  <a:pt x="963031" y="607878"/>
                  <a:pt x="976620" y="588051"/>
                  <a:pt x="1008001" y="493906"/>
                </a:cubicBezTo>
                <a:lnTo>
                  <a:pt x="1037982" y="403965"/>
                </a:lnTo>
                <a:lnTo>
                  <a:pt x="1067962" y="373984"/>
                </a:lnTo>
                <a:cubicBezTo>
                  <a:pt x="1072959" y="299033"/>
                  <a:pt x="1074657" y="223790"/>
                  <a:pt x="1082952" y="149132"/>
                </a:cubicBezTo>
                <a:cubicBezTo>
                  <a:pt x="1099522" y="0"/>
                  <a:pt x="1097942" y="151401"/>
                  <a:pt x="1097942" y="89171"/>
                </a:cubicBezTo>
              </a:path>
            </a:pathLst>
          </a:custGeom>
          <a:ln w="3810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Vrije vorm 6"/>
          <p:cNvSpPr/>
          <p:nvPr/>
        </p:nvSpPr>
        <p:spPr>
          <a:xfrm>
            <a:off x="1708879" y="1978702"/>
            <a:ext cx="2353455" cy="4616970"/>
          </a:xfrm>
          <a:custGeom>
            <a:avLst/>
            <a:gdLst>
              <a:gd name="connsiteX0" fmla="*/ 1723869 w 2353455"/>
              <a:gd name="connsiteY0" fmla="*/ 4616970 h 4616970"/>
              <a:gd name="connsiteX1" fmla="*/ 1768839 w 2353455"/>
              <a:gd name="connsiteY1" fmla="*/ 4586990 h 4616970"/>
              <a:gd name="connsiteX2" fmla="*/ 1798819 w 2353455"/>
              <a:gd name="connsiteY2" fmla="*/ 4557009 h 4616970"/>
              <a:gd name="connsiteX3" fmla="*/ 1843790 w 2353455"/>
              <a:gd name="connsiteY3" fmla="*/ 4542019 h 4616970"/>
              <a:gd name="connsiteX4" fmla="*/ 1888760 w 2353455"/>
              <a:gd name="connsiteY4" fmla="*/ 4512039 h 4616970"/>
              <a:gd name="connsiteX5" fmla="*/ 1918741 w 2353455"/>
              <a:gd name="connsiteY5" fmla="*/ 4482059 h 4616970"/>
              <a:gd name="connsiteX6" fmla="*/ 1978701 w 2353455"/>
              <a:gd name="connsiteY6" fmla="*/ 4467068 h 4616970"/>
              <a:gd name="connsiteX7" fmla="*/ 2068642 w 2353455"/>
              <a:gd name="connsiteY7" fmla="*/ 4407108 h 4616970"/>
              <a:gd name="connsiteX8" fmla="*/ 2113613 w 2353455"/>
              <a:gd name="connsiteY8" fmla="*/ 4377128 h 4616970"/>
              <a:gd name="connsiteX9" fmla="*/ 2158583 w 2353455"/>
              <a:gd name="connsiteY9" fmla="*/ 4362137 h 4616970"/>
              <a:gd name="connsiteX10" fmla="*/ 2188564 w 2353455"/>
              <a:gd name="connsiteY10" fmla="*/ 4332157 h 4616970"/>
              <a:gd name="connsiteX11" fmla="*/ 2278505 w 2353455"/>
              <a:gd name="connsiteY11" fmla="*/ 4272196 h 4616970"/>
              <a:gd name="connsiteX12" fmla="*/ 2293495 w 2353455"/>
              <a:gd name="connsiteY12" fmla="*/ 4137285 h 4616970"/>
              <a:gd name="connsiteX13" fmla="*/ 2248524 w 2353455"/>
              <a:gd name="connsiteY13" fmla="*/ 4107305 h 4616970"/>
              <a:gd name="connsiteX14" fmla="*/ 2158583 w 2353455"/>
              <a:gd name="connsiteY14" fmla="*/ 4077324 h 4616970"/>
              <a:gd name="connsiteX15" fmla="*/ 2113613 w 2353455"/>
              <a:gd name="connsiteY15" fmla="*/ 4047344 h 4616970"/>
              <a:gd name="connsiteX16" fmla="*/ 1963711 w 2353455"/>
              <a:gd name="connsiteY16" fmla="*/ 4002373 h 4616970"/>
              <a:gd name="connsiteX17" fmla="*/ 1858780 w 2353455"/>
              <a:gd name="connsiteY17" fmla="*/ 3972393 h 4616970"/>
              <a:gd name="connsiteX18" fmla="*/ 1813810 w 2353455"/>
              <a:gd name="connsiteY18" fmla="*/ 3942413 h 4616970"/>
              <a:gd name="connsiteX19" fmla="*/ 1768839 w 2353455"/>
              <a:gd name="connsiteY19" fmla="*/ 3927423 h 4616970"/>
              <a:gd name="connsiteX20" fmla="*/ 1678898 w 2353455"/>
              <a:gd name="connsiteY20" fmla="*/ 3882452 h 4616970"/>
              <a:gd name="connsiteX21" fmla="*/ 1633928 w 2353455"/>
              <a:gd name="connsiteY21" fmla="*/ 3852472 h 4616970"/>
              <a:gd name="connsiteX22" fmla="*/ 1588957 w 2353455"/>
              <a:gd name="connsiteY22" fmla="*/ 3837482 h 4616970"/>
              <a:gd name="connsiteX23" fmla="*/ 1514006 w 2353455"/>
              <a:gd name="connsiteY23" fmla="*/ 3792511 h 4616970"/>
              <a:gd name="connsiteX24" fmla="*/ 1469036 w 2353455"/>
              <a:gd name="connsiteY24" fmla="*/ 3747541 h 4616970"/>
              <a:gd name="connsiteX25" fmla="*/ 1454046 w 2353455"/>
              <a:gd name="connsiteY25" fmla="*/ 3702570 h 4616970"/>
              <a:gd name="connsiteX26" fmla="*/ 1409075 w 2353455"/>
              <a:gd name="connsiteY26" fmla="*/ 3687580 h 4616970"/>
              <a:gd name="connsiteX27" fmla="*/ 1349114 w 2353455"/>
              <a:gd name="connsiteY27" fmla="*/ 3612629 h 4616970"/>
              <a:gd name="connsiteX28" fmla="*/ 1289154 w 2353455"/>
              <a:gd name="connsiteY28" fmla="*/ 3537678 h 4616970"/>
              <a:gd name="connsiteX29" fmla="*/ 1244183 w 2353455"/>
              <a:gd name="connsiteY29" fmla="*/ 3462728 h 4616970"/>
              <a:gd name="connsiteX30" fmla="*/ 1109272 w 2353455"/>
              <a:gd name="connsiteY30" fmla="*/ 3297836 h 4616970"/>
              <a:gd name="connsiteX31" fmla="*/ 1079291 w 2353455"/>
              <a:gd name="connsiteY31" fmla="*/ 3267855 h 4616970"/>
              <a:gd name="connsiteX32" fmla="*/ 1049311 w 2353455"/>
              <a:gd name="connsiteY32" fmla="*/ 3222885 h 4616970"/>
              <a:gd name="connsiteX33" fmla="*/ 1004341 w 2353455"/>
              <a:gd name="connsiteY33" fmla="*/ 3192905 h 4616970"/>
              <a:gd name="connsiteX34" fmla="*/ 974360 w 2353455"/>
              <a:gd name="connsiteY34" fmla="*/ 3162924 h 4616970"/>
              <a:gd name="connsiteX35" fmla="*/ 884419 w 2353455"/>
              <a:gd name="connsiteY35" fmla="*/ 3102964 h 4616970"/>
              <a:gd name="connsiteX36" fmla="*/ 749508 w 2353455"/>
              <a:gd name="connsiteY36" fmla="*/ 3043003 h 4616970"/>
              <a:gd name="connsiteX37" fmla="*/ 704537 w 2353455"/>
              <a:gd name="connsiteY37" fmla="*/ 3028013 h 4616970"/>
              <a:gd name="connsiteX38" fmla="*/ 659567 w 2353455"/>
              <a:gd name="connsiteY38" fmla="*/ 3013023 h 4616970"/>
              <a:gd name="connsiteX39" fmla="*/ 509665 w 2353455"/>
              <a:gd name="connsiteY39" fmla="*/ 2923082 h 4616970"/>
              <a:gd name="connsiteX40" fmla="*/ 464695 w 2353455"/>
              <a:gd name="connsiteY40" fmla="*/ 2893101 h 4616970"/>
              <a:gd name="connsiteX41" fmla="*/ 434714 w 2353455"/>
              <a:gd name="connsiteY41" fmla="*/ 2863121 h 4616970"/>
              <a:gd name="connsiteX42" fmla="*/ 389744 w 2353455"/>
              <a:gd name="connsiteY42" fmla="*/ 2848131 h 4616970"/>
              <a:gd name="connsiteX43" fmla="*/ 359764 w 2353455"/>
              <a:gd name="connsiteY43" fmla="*/ 2818150 h 4616970"/>
              <a:gd name="connsiteX44" fmla="*/ 314793 w 2353455"/>
              <a:gd name="connsiteY44" fmla="*/ 2788170 h 4616970"/>
              <a:gd name="connsiteX45" fmla="*/ 284813 w 2353455"/>
              <a:gd name="connsiteY45" fmla="*/ 2743200 h 4616970"/>
              <a:gd name="connsiteX46" fmla="*/ 254832 w 2353455"/>
              <a:gd name="connsiteY46" fmla="*/ 2713219 h 4616970"/>
              <a:gd name="connsiteX47" fmla="*/ 224852 w 2353455"/>
              <a:gd name="connsiteY47" fmla="*/ 2668249 h 4616970"/>
              <a:gd name="connsiteX48" fmla="*/ 194872 w 2353455"/>
              <a:gd name="connsiteY48" fmla="*/ 2638268 h 4616970"/>
              <a:gd name="connsiteX49" fmla="*/ 164891 w 2353455"/>
              <a:gd name="connsiteY49" fmla="*/ 2593298 h 4616970"/>
              <a:gd name="connsiteX50" fmla="*/ 119921 w 2353455"/>
              <a:gd name="connsiteY50" fmla="*/ 2563318 h 4616970"/>
              <a:gd name="connsiteX51" fmla="*/ 29980 w 2353455"/>
              <a:gd name="connsiteY51" fmla="*/ 2413416 h 4616970"/>
              <a:gd name="connsiteX52" fmla="*/ 0 w 2353455"/>
              <a:gd name="connsiteY52" fmla="*/ 2368446 h 4616970"/>
              <a:gd name="connsiteX53" fmla="*/ 14990 w 2353455"/>
              <a:gd name="connsiteY53" fmla="*/ 2308485 h 4616970"/>
              <a:gd name="connsiteX54" fmla="*/ 59960 w 2353455"/>
              <a:gd name="connsiteY54" fmla="*/ 2293495 h 4616970"/>
              <a:gd name="connsiteX55" fmla="*/ 329783 w 2353455"/>
              <a:gd name="connsiteY55" fmla="*/ 2308485 h 4616970"/>
              <a:gd name="connsiteX56" fmla="*/ 539646 w 2353455"/>
              <a:gd name="connsiteY56" fmla="*/ 2323475 h 4616970"/>
              <a:gd name="connsiteX57" fmla="*/ 854439 w 2353455"/>
              <a:gd name="connsiteY57" fmla="*/ 2308485 h 4616970"/>
              <a:gd name="connsiteX58" fmla="*/ 899410 w 2353455"/>
              <a:gd name="connsiteY58" fmla="*/ 2293495 h 4616970"/>
              <a:gd name="connsiteX59" fmla="*/ 959370 w 2353455"/>
              <a:gd name="connsiteY59" fmla="*/ 2278505 h 4616970"/>
              <a:gd name="connsiteX60" fmla="*/ 1139252 w 2353455"/>
              <a:gd name="connsiteY60" fmla="*/ 2233534 h 4616970"/>
              <a:gd name="connsiteX61" fmla="*/ 1229193 w 2353455"/>
              <a:gd name="connsiteY61" fmla="*/ 2188564 h 4616970"/>
              <a:gd name="connsiteX62" fmla="*/ 1334124 w 2353455"/>
              <a:gd name="connsiteY62" fmla="*/ 2113613 h 4616970"/>
              <a:gd name="connsiteX63" fmla="*/ 1364105 w 2353455"/>
              <a:gd name="connsiteY63" fmla="*/ 2068642 h 4616970"/>
              <a:gd name="connsiteX64" fmla="*/ 1409075 w 2353455"/>
              <a:gd name="connsiteY64" fmla="*/ 2053652 h 4616970"/>
              <a:gd name="connsiteX65" fmla="*/ 1514006 w 2353455"/>
              <a:gd name="connsiteY65" fmla="*/ 2008682 h 4616970"/>
              <a:gd name="connsiteX66" fmla="*/ 1543987 w 2353455"/>
              <a:gd name="connsiteY66" fmla="*/ 1978701 h 4616970"/>
              <a:gd name="connsiteX67" fmla="*/ 1633928 w 2353455"/>
              <a:gd name="connsiteY67" fmla="*/ 1918741 h 4616970"/>
              <a:gd name="connsiteX68" fmla="*/ 1693888 w 2353455"/>
              <a:gd name="connsiteY68" fmla="*/ 1843790 h 4616970"/>
              <a:gd name="connsiteX69" fmla="*/ 1723869 w 2353455"/>
              <a:gd name="connsiteY69" fmla="*/ 1813809 h 4616970"/>
              <a:gd name="connsiteX70" fmla="*/ 1738859 w 2353455"/>
              <a:gd name="connsiteY70" fmla="*/ 1753849 h 4616970"/>
              <a:gd name="connsiteX71" fmla="*/ 1768839 w 2353455"/>
              <a:gd name="connsiteY71" fmla="*/ 1723868 h 4616970"/>
              <a:gd name="connsiteX72" fmla="*/ 1798819 w 2353455"/>
              <a:gd name="connsiteY72" fmla="*/ 1633928 h 4616970"/>
              <a:gd name="connsiteX73" fmla="*/ 1813810 w 2353455"/>
              <a:gd name="connsiteY73" fmla="*/ 1588957 h 4616970"/>
              <a:gd name="connsiteX74" fmla="*/ 1873770 w 2353455"/>
              <a:gd name="connsiteY74" fmla="*/ 1514006 h 4616970"/>
              <a:gd name="connsiteX75" fmla="*/ 1918741 w 2353455"/>
              <a:gd name="connsiteY75" fmla="*/ 1439055 h 4616970"/>
              <a:gd name="connsiteX76" fmla="*/ 1933731 w 2353455"/>
              <a:gd name="connsiteY76" fmla="*/ 1394085 h 4616970"/>
              <a:gd name="connsiteX77" fmla="*/ 1948721 w 2353455"/>
              <a:gd name="connsiteY77" fmla="*/ 1274164 h 4616970"/>
              <a:gd name="connsiteX78" fmla="*/ 1978701 w 2353455"/>
              <a:gd name="connsiteY78" fmla="*/ 1169232 h 4616970"/>
              <a:gd name="connsiteX79" fmla="*/ 1993691 w 2353455"/>
              <a:gd name="connsiteY79" fmla="*/ 779488 h 4616970"/>
              <a:gd name="connsiteX80" fmla="*/ 2008682 w 2353455"/>
              <a:gd name="connsiteY80" fmla="*/ 734518 h 4616970"/>
              <a:gd name="connsiteX81" fmla="*/ 2038662 w 2353455"/>
              <a:gd name="connsiteY81" fmla="*/ 704537 h 4616970"/>
              <a:gd name="connsiteX82" fmla="*/ 2083632 w 2353455"/>
              <a:gd name="connsiteY82" fmla="*/ 584616 h 4616970"/>
              <a:gd name="connsiteX83" fmla="*/ 2113613 w 2353455"/>
              <a:gd name="connsiteY83" fmla="*/ 524655 h 4616970"/>
              <a:gd name="connsiteX84" fmla="*/ 2173573 w 2353455"/>
              <a:gd name="connsiteY84" fmla="*/ 434714 h 4616970"/>
              <a:gd name="connsiteX85" fmla="*/ 2203554 w 2353455"/>
              <a:gd name="connsiteY85" fmla="*/ 404734 h 4616970"/>
              <a:gd name="connsiteX86" fmla="*/ 2218544 w 2353455"/>
              <a:gd name="connsiteY86" fmla="*/ 344773 h 4616970"/>
              <a:gd name="connsiteX87" fmla="*/ 2278505 w 2353455"/>
              <a:gd name="connsiteY87" fmla="*/ 269823 h 4616970"/>
              <a:gd name="connsiteX88" fmla="*/ 2338465 w 2353455"/>
              <a:gd name="connsiteY88" fmla="*/ 59960 h 4616970"/>
              <a:gd name="connsiteX89" fmla="*/ 2353455 w 2353455"/>
              <a:gd name="connsiteY89" fmla="*/ 0 h 4616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353455" h="4616970">
                <a:moveTo>
                  <a:pt x="1723869" y="4616970"/>
                </a:moveTo>
                <a:cubicBezTo>
                  <a:pt x="1738859" y="4606977"/>
                  <a:pt x="1754771" y="4598244"/>
                  <a:pt x="1768839" y="4586990"/>
                </a:cubicBezTo>
                <a:cubicBezTo>
                  <a:pt x="1779875" y="4578161"/>
                  <a:pt x="1786700" y="4564280"/>
                  <a:pt x="1798819" y="4557009"/>
                </a:cubicBezTo>
                <a:cubicBezTo>
                  <a:pt x="1812368" y="4548879"/>
                  <a:pt x="1828800" y="4547016"/>
                  <a:pt x="1843790" y="4542019"/>
                </a:cubicBezTo>
                <a:cubicBezTo>
                  <a:pt x="1858780" y="4532026"/>
                  <a:pt x="1874692" y="4523293"/>
                  <a:pt x="1888760" y="4512039"/>
                </a:cubicBezTo>
                <a:cubicBezTo>
                  <a:pt x="1899796" y="4503210"/>
                  <a:pt x="1906100" y="4488380"/>
                  <a:pt x="1918741" y="4482059"/>
                </a:cubicBezTo>
                <a:cubicBezTo>
                  <a:pt x="1937168" y="4472845"/>
                  <a:pt x="1958714" y="4472065"/>
                  <a:pt x="1978701" y="4467068"/>
                </a:cubicBezTo>
                <a:lnTo>
                  <a:pt x="2068642" y="4407108"/>
                </a:lnTo>
                <a:cubicBezTo>
                  <a:pt x="2083632" y="4397115"/>
                  <a:pt x="2096522" y="4382826"/>
                  <a:pt x="2113613" y="4377128"/>
                </a:cubicBezTo>
                <a:lnTo>
                  <a:pt x="2158583" y="4362137"/>
                </a:lnTo>
                <a:cubicBezTo>
                  <a:pt x="2168577" y="4352144"/>
                  <a:pt x="2177258" y="4340637"/>
                  <a:pt x="2188564" y="4332157"/>
                </a:cubicBezTo>
                <a:cubicBezTo>
                  <a:pt x="2217390" y="4310538"/>
                  <a:pt x="2278505" y="4272196"/>
                  <a:pt x="2278505" y="4272196"/>
                </a:cubicBezTo>
                <a:cubicBezTo>
                  <a:pt x="2292907" y="4228991"/>
                  <a:pt x="2328766" y="4181373"/>
                  <a:pt x="2293495" y="4137285"/>
                </a:cubicBezTo>
                <a:cubicBezTo>
                  <a:pt x="2282240" y="4123217"/>
                  <a:pt x="2264987" y="4114622"/>
                  <a:pt x="2248524" y="4107305"/>
                </a:cubicBezTo>
                <a:cubicBezTo>
                  <a:pt x="2219646" y="4094470"/>
                  <a:pt x="2158583" y="4077324"/>
                  <a:pt x="2158583" y="4077324"/>
                </a:cubicBezTo>
                <a:cubicBezTo>
                  <a:pt x="2143593" y="4067331"/>
                  <a:pt x="2130076" y="4054661"/>
                  <a:pt x="2113613" y="4047344"/>
                </a:cubicBezTo>
                <a:cubicBezTo>
                  <a:pt x="2049500" y="4018849"/>
                  <a:pt x="2024751" y="4019813"/>
                  <a:pt x="1963711" y="4002373"/>
                </a:cubicBezTo>
                <a:cubicBezTo>
                  <a:pt x="1813215" y="3959373"/>
                  <a:pt x="2046178" y="4019242"/>
                  <a:pt x="1858780" y="3972393"/>
                </a:cubicBezTo>
                <a:cubicBezTo>
                  <a:pt x="1843790" y="3962400"/>
                  <a:pt x="1829924" y="3950470"/>
                  <a:pt x="1813810" y="3942413"/>
                </a:cubicBezTo>
                <a:cubicBezTo>
                  <a:pt x="1799677" y="3935347"/>
                  <a:pt x="1782388" y="3935553"/>
                  <a:pt x="1768839" y="3927423"/>
                </a:cubicBezTo>
                <a:cubicBezTo>
                  <a:pt x="1673378" y="3870146"/>
                  <a:pt x="1826789" y="3919424"/>
                  <a:pt x="1678898" y="3882452"/>
                </a:cubicBezTo>
                <a:cubicBezTo>
                  <a:pt x="1663908" y="3872459"/>
                  <a:pt x="1650042" y="3860529"/>
                  <a:pt x="1633928" y="3852472"/>
                </a:cubicBezTo>
                <a:cubicBezTo>
                  <a:pt x="1619795" y="3845406"/>
                  <a:pt x="1602506" y="3845612"/>
                  <a:pt x="1588957" y="3837482"/>
                </a:cubicBezTo>
                <a:cubicBezTo>
                  <a:pt x="1486073" y="3775751"/>
                  <a:pt x="1641402" y="3834975"/>
                  <a:pt x="1514006" y="3792511"/>
                </a:cubicBezTo>
                <a:cubicBezTo>
                  <a:pt x="1499016" y="3777521"/>
                  <a:pt x="1480795" y="3765180"/>
                  <a:pt x="1469036" y="3747541"/>
                </a:cubicBezTo>
                <a:cubicBezTo>
                  <a:pt x="1460271" y="3734394"/>
                  <a:pt x="1465219" y="3713743"/>
                  <a:pt x="1454046" y="3702570"/>
                </a:cubicBezTo>
                <a:cubicBezTo>
                  <a:pt x="1442873" y="3691397"/>
                  <a:pt x="1424065" y="3692577"/>
                  <a:pt x="1409075" y="3687580"/>
                </a:cubicBezTo>
                <a:cubicBezTo>
                  <a:pt x="1316807" y="3549174"/>
                  <a:pt x="1434548" y="3719419"/>
                  <a:pt x="1349114" y="3612629"/>
                </a:cubicBezTo>
                <a:cubicBezTo>
                  <a:pt x="1273464" y="3518068"/>
                  <a:pt x="1361550" y="3610077"/>
                  <a:pt x="1289154" y="3537678"/>
                </a:cubicBezTo>
                <a:cubicBezTo>
                  <a:pt x="1260492" y="3451691"/>
                  <a:pt x="1293569" y="3528575"/>
                  <a:pt x="1244183" y="3462728"/>
                </a:cubicBezTo>
                <a:cubicBezTo>
                  <a:pt x="1124840" y="3303604"/>
                  <a:pt x="1248714" y="3437278"/>
                  <a:pt x="1109272" y="3297836"/>
                </a:cubicBezTo>
                <a:cubicBezTo>
                  <a:pt x="1099278" y="3287842"/>
                  <a:pt x="1087131" y="3279615"/>
                  <a:pt x="1079291" y="3267855"/>
                </a:cubicBezTo>
                <a:cubicBezTo>
                  <a:pt x="1069298" y="3252865"/>
                  <a:pt x="1062050" y="3235624"/>
                  <a:pt x="1049311" y="3222885"/>
                </a:cubicBezTo>
                <a:cubicBezTo>
                  <a:pt x="1036572" y="3210146"/>
                  <a:pt x="1018409" y="3204159"/>
                  <a:pt x="1004341" y="3192905"/>
                </a:cubicBezTo>
                <a:cubicBezTo>
                  <a:pt x="993305" y="3184076"/>
                  <a:pt x="985667" y="3171404"/>
                  <a:pt x="974360" y="3162924"/>
                </a:cubicBezTo>
                <a:cubicBezTo>
                  <a:pt x="945535" y="3141305"/>
                  <a:pt x="914399" y="3122951"/>
                  <a:pt x="884419" y="3102964"/>
                </a:cubicBezTo>
                <a:cubicBezTo>
                  <a:pt x="813151" y="3055452"/>
                  <a:pt x="856547" y="3078682"/>
                  <a:pt x="749508" y="3043003"/>
                </a:cubicBezTo>
                <a:lnTo>
                  <a:pt x="704537" y="3028013"/>
                </a:lnTo>
                <a:lnTo>
                  <a:pt x="659567" y="3013023"/>
                </a:lnTo>
                <a:cubicBezTo>
                  <a:pt x="439525" y="2866328"/>
                  <a:pt x="671008" y="3015279"/>
                  <a:pt x="509665" y="2923082"/>
                </a:cubicBezTo>
                <a:cubicBezTo>
                  <a:pt x="494023" y="2914144"/>
                  <a:pt x="478763" y="2904355"/>
                  <a:pt x="464695" y="2893101"/>
                </a:cubicBezTo>
                <a:cubicBezTo>
                  <a:pt x="453659" y="2884272"/>
                  <a:pt x="446833" y="2870392"/>
                  <a:pt x="434714" y="2863121"/>
                </a:cubicBezTo>
                <a:cubicBezTo>
                  <a:pt x="421165" y="2854992"/>
                  <a:pt x="404734" y="2853128"/>
                  <a:pt x="389744" y="2848131"/>
                </a:cubicBezTo>
                <a:cubicBezTo>
                  <a:pt x="379751" y="2838137"/>
                  <a:pt x="370800" y="2826979"/>
                  <a:pt x="359764" y="2818150"/>
                </a:cubicBezTo>
                <a:cubicBezTo>
                  <a:pt x="345696" y="2806895"/>
                  <a:pt x="327532" y="2800909"/>
                  <a:pt x="314793" y="2788170"/>
                </a:cubicBezTo>
                <a:cubicBezTo>
                  <a:pt x="302054" y="2775431"/>
                  <a:pt x="296067" y="2757268"/>
                  <a:pt x="284813" y="2743200"/>
                </a:cubicBezTo>
                <a:cubicBezTo>
                  <a:pt x="275984" y="2732164"/>
                  <a:pt x="263661" y="2724255"/>
                  <a:pt x="254832" y="2713219"/>
                </a:cubicBezTo>
                <a:cubicBezTo>
                  <a:pt x="243578" y="2699151"/>
                  <a:pt x="236106" y="2682317"/>
                  <a:pt x="224852" y="2668249"/>
                </a:cubicBezTo>
                <a:cubicBezTo>
                  <a:pt x="216023" y="2657213"/>
                  <a:pt x="203701" y="2649304"/>
                  <a:pt x="194872" y="2638268"/>
                </a:cubicBezTo>
                <a:cubicBezTo>
                  <a:pt x="183618" y="2624200"/>
                  <a:pt x="177630" y="2606037"/>
                  <a:pt x="164891" y="2593298"/>
                </a:cubicBezTo>
                <a:cubicBezTo>
                  <a:pt x="152152" y="2580559"/>
                  <a:pt x="134911" y="2573311"/>
                  <a:pt x="119921" y="2563318"/>
                </a:cubicBezTo>
                <a:cubicBezTo>
                  <a:pt x="73827" y="2471128"/>
                  <a:pt x="102337" y="2521951"/>
                  <a:pt x="29980" y="2413416"/>
                </a:cubicBezTo>
                <a:lnTo>
                  <a:pt x="0" y="2368446"/>
                </a:lnTo>
                <a:cubicBezTo>
                  <a:pt x="4997" y="2348459"/>
                  <a:pt x="2120" y="2324573"/>
                  <a:pt x="14990" y="2308485"/>
                </a:cubicBezTo>
                <a:cubicBezTo>
                  <a:pt x="24861" y="2296147"/>
                  <a:pt x="44159" y="2293495"/>
                  <a:pt x="59960" y="2293495"/>
                </a:cubicBezTo>
                <a:cubicBezTo>
                  <a:pt x="150040" y="2293495"/>
                  <a:pt x="239879" y="2302866"/>
                  <a:pt x="329783" y="2308485"/>
                </a:cubicBezTo>
                <a:lnTo>
                  <a:pt x="539646" y="2323475"/>
                </a:lnTo>
                <a:cubicBezTo>
                  <a:pt x="644577" y="2318478"/>
                  <a:pt x="749752" y="2317209"/>
                  <a:pt x="854439" y="2308485"/>
                </a:cubicBezTo>
                <a:cubicBezTo>
                  <a:pt x="870186" y="2307173"/>
                  <a:pt x="884217" y="2297836"/>
                  <a:pt x="899410" y="2293495"/>
                </a:cubicBezTo>
                <a:cubicBezTo>
                  <a:pt x="919219" y="2287835"/>
                  <a:pt x="939168" y="2282545"/>
                  <a:pt x="959370" y="2278505"/>
                </a:cubicBezTo>
                <a:cubicBezTo>
                  <a:pt x="1007536" y="2268871"/>
                  <a:pt x="1096323" y="2262153"/>
                  <a:pt x="1139252" y="2233534"/>
                </a:cubicBezTo>
                <a:cubicBezTo>
                  <a:pt x="1197370" y="2194789"/>
                  <a:pt x="1167132" y="2209251"/>
                  <a:pt x="1229193" y="2188564"/>
                </a:cubicBezTo>
                <a:cubicBezTo>
                  <a:pt x="1300327" y="2117430"/>
                  <a:pt x="1262339" y="2137541"/>
                  <a:pt x="1334124" y="2113613"/>
                </a:cubicBezTo>
                <a:cubicBezTo>
                  <a:pt x="1344118" y="2098623"/>
                  <a:pt x="1350037" y="2079897"/>
                  <a:pt x="1364105" y="2068642"/>
                </a:cubicBezTo>
                <a:cubicBezTo>
                  <a:pt x="1376443" y="2058771"/>
                  <a:pt x="1394552" y="2059876"/>
                  <a:pt x="1409075" y="2053652"/>
                </a:cubicBezTo>
                <a:cubicBezTo>
                  <a:pt x="1538738" y="1998083"/>
                  <a:pt x="1408544" y="2043836"/>
                  <a:pt x="1514006" y="2008682"/>
                </a:cubicBezTo>
                <a:cubicBezTo>
                  <a:pt x="1524000" y="1998688"/>
                  <a:pt x="1532680" y="1987181"/>
                  <a:pt x="1543987" y="1978701"/>
                </a:cubicBezTo>
                <a:cubicBezTo>
                  <a:pt x="1572812" y="1957082"/>
                  <a:pt x="1608450" y="1944220"/>
                  <a:pt x="1633928" y="1918741"/>
                </a:cubicBezTo>
                <a:cubicBezTo>
                  <a:pt x="1706320" y="1846346"/>
                  <a:pt x="1618243" y="1938346"/>
                  <a:pt x="1693888" y="1843790"/>
                </a:cubicBezTo>
                <a:cubicBezTo>
                  <a:pt x="1702717" y="1832754"/>
                  <a:pt x="1713875" y="1823803"/>
                  <a:pt x="1723869" y="1813809"/>
                </a:cubicBezTo>
                <a:cubicBezTo>
                  <a:pt x="1728866" y="1793822"/>
                  <a:pt x="1729646" y="1772276"/>
                  <a:pt x="1738859" y="1753849"/>
                </a:cubicBezTo>
                <a:cubicBezTo>
                  <a:pt x="1745179" y="1741208"/>
                  <a:pt x="1762519" y="1736509"/>
                  <a:pt x="1768839" y="1723868"/>
                </a:cubicBezTo>
                <a:cubicBezTo>
                  <a:pt x="1782972" y="1695603"/>
                  <a:pt x="1788826" y="1663908"/>
                  <a:pt x="1798819" y="1633928"/>
                </a:cubicBezTo>
                <a:cubicBezTo>
                  <a:pt x="1803816" y="1618938"/>
                  <a:pt x="1805045" y="1602104"/>
                  <a:pt x="1813810" y="1588957"/>
                </a:cubicBezTo>
                <a:cubicBezTo>
                  <a:pt x="1851630" y="1532228"/>
                  <a:pt x="1831051" y="1556726"/>
                  <a:pt x="1873770" y="1514006"/>
                </a:cubicBezTo>
                <a:cubicBezTo>
                  <a:pt x="1916233" y="1386616"/>
                  <a:pt x="1857011" y="1541938"/>
                  <a:pt x="1918741" y="1439055"/>
                </a:cubicBezTo>
                <a:cubicBezTo>
                  <a:pt x="1926871" y="1425506"/>
                  <a:pt x="1928734" y="1409075"/>
                  <a:pt x="1933731" y="1394085"/>
                </a:cubicBezTo>
                <a:cubicBezTo>
                  <a:pt x="1938728" y="1354111"/>
                  <a:pt x="1942098" y="1313901"/>
                  <a:pt x="1948721" y="1274164"/>
                </a:cubicBezTo>
                <a:cubicBezTo>
                  <a:pt x="1954995" y="1236519"/>
                  <a:pt x="1966820" y="1204875"/>
                  <a:pt x="1978701" y="1169232"/>
                </a:cubicBezTo>
                <a:cubicBezTo>
                  <a:pt x="1983698" y="1039317"/>
                  <a:pt x="1984746" y="909191"/>
                  <a:pt x="1993691" y="779488"/>
                </a:cubicBezTo>
                <a:cubicBezTo>
                  <a:pt x="1994778" y="763724"/>
                  <a:pt x="2000552" y="748067"/>
                  <a:pt x="2008682" y="734518"/>
                </a:cubicBezTo>
                <a:cubicBezTo>
                  <a:pt x="2015953" y="722399"/>
                  <a:pt x="2028669" y="714531"/>
                  <a:pt x="2038662" y="704537"/>
                </a:cubicBezTo>
                <a:cubicBezTo>
                  <a:pt x="2055143" y="655093"/>
                  <a:pt x="2059735" y="638384"/>
                  <a:pt x="2083632" y="584616"/>
                </a:cubicBezTo>
                <a:cubicBezTo>
                  <a:pt x="2092708" y="564196"/>
                  <a:pt x="2102116" y="543817"/>
                  <a:pt x="2113613" y="524655"/>
                </a:cubicBezTo>
                <a:cubicBezTo>
                  <a:pt x="2132151" y="493758"/>
                  <a:pt x="2148094" y="460192"/>
                  <a:pt x="2173573" y="434714"/>
                </a:cubicBezTo>
                <a:lnTo>
                  <a:pt x="2203554" y="404734"/>
                </a:lnTo>
                <a:cubicBezTo>
                  <a:pt x="2208551" y="384747"/>
                  <a:pt x="2210428" y="363709"/>
                  <a:pt x="2218544" y="344773"/>
                </a:cubicBezTo>
                <a:cubicBezTo>
                  <a:pt x="2232727" y="311680"/>
                  <a:pt x="2254327" y="294000"/>
                  <a:pt x="2278505" y="269823"/>
                </a:cubicBezTo>
                <a:cubicBezTo>
                  <a:pt x="2321515" y="140790"/>
                  <a:pt x="2300820" y="210543"/>
                  <a:pt x="2338465" y="59960"/>
                </a:cubicBezTo>
                <a:lnTo>
                  <a:pt x="2353455" y="0"/>
                </a:lnTo>
              </a:path>
            </a:pathLst>
          </a:custGeom>
          <a:ln w="38100" cmpd="sng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69696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08720"/>
          </a:xfrm>
        </p:spPr>
        <p:txBody>
          <a:bodyPr>
            <a:normAutofit/>
          </a:bodyPr>
          <a:lstStyle/>
          <a:p>
            <a:r>
              <a:rPr lang="nl-NL" sz="3600" b="1" dirty="0" smtClean="0">
                <a:solidFill>
                  <a:srgbClr val="002060"/>
                </a:solidFill>
                <a:latin typeface="+mn-lt"/>
              </a:rPr>
              <a:t>Participatiemomenten</a:t>
            </a:r>
          </a:p>
        </p:txBody>
      </p:sp>
      <p:graphicFrame>
        <p:nvGraphicFramePr>
          <p:cNvPr id="5" name="Tijdelijke aanduiding voor inhoud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9168818"/>
              </p:ext>
            </p:extLst>
          </p:nvPr>
        </p:nvGraphicFramePr>
        <p:xfrm>
          <a:off x="0" y="2085576"/>
          <a:ext cx="9144001" cy="4772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2903"/>
                <a:gridCol w="1972677"/>
                <a:gridCol w="1135380"/>
                <a:gridCol w="1181613"/>
                <a:gridCol w="852927"/>
                <a:gridCol w="1037437"/>
                <a:gridCol w="890423"/>
                <a:gridCol w="1310641"/>
              </a:tblGrid>
              <a:tr h="583168">
                <a:tc>
                  <a:txBody>
                    <a:bodyPr/>
                    <a:lstStyle/>
                    <a:p>
                      <a:pPr algn="ctr"/>
                      <a:r>
                        <a:rPr lang="nl-NL" dirty="0" smtClean="0"/>
                        <a:t>Fase</a:t>
                      </a:r>
                      <a:endParaRPr lang="nl-N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Stap / Inbreng</a:t>
                      </a:r>
                      <a:r>
                        <a:rPr lang="nl-NL" sz="1600" b="1" baseline="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nl-NL" sz="1600" b="1" baseline="0" dirty="0" smtClean="0">
                          <a:solidFill>
                            <a:srgbClr val="FF0000"/>
                          </a:solidFill>
                        </a:rPr>
                        <a:t>door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Ambtelijk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Bewoners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BKL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Winkels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Raad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600" b="1" dirty="0" smtClean="0">
                          <a:solidFill>
                            <a:srgbClr val="FF0000"/>
                          </a:solidFill>
                        </a:rPr>
                        <a:t>Bestuurder</a:t>
                      </a:r>
                      <a:endParaRPr lang="nl-NL" sz="1600" b="1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1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Sfeerboek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2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Selectie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Uitvraag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583168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Project</a:t>
                      </a:r>
                      <a:r>
                        <a:rPr lang="nl-NL" sz="1600" baseline="0" dirty="0" smtClean="0"/>
                        <a:t> O</a:t>
                      </a:r>
                      <a:r>
                        <a:rPr lang="nl-NL" sz="1600" dirty="0" smtClean="0"/>
                        <a:t>nderbouwing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Risicodossier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Kansendossier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407684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Interview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3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Prijsstelling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neen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4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Plan</a:t>
                      </a:r>
                      <a:r>
                        <a:rPr lang="nl-NL" sz="1600" baseline="0" dirty="0" smtClean="0"/>
                        <a:t> van Aanpak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optie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  <a:tr h="399800">
                <a:tc>
                  <a:txBody>
                    <a:bodyPr/>
                    <a:lstStyle/>
                    <a:p>
                      <a:r>
                        <a:rPr lang="nl-NL" b="1" dirty="0" smtClean="0">
                          <a:solidFill>
                            <a:srgbClr val="002060"/>
                          </a:solidFill>
                        </a:rPr>
                        <a:t>5</a:t>
                      </a:r>
                      <a:endParaRPr lang="nl-NL" b="1" dirty="0">
                        <a:solidFill>
                          <a:srgbClr val="00206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1600" dirty="0" smtClean="0"/>
                        <a:t>Uitvoering</a:t>
                      </a:r>
                      <a:endParaRPr lang="nl-NL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sz="1400" dirty="0" smtClean="0"/>
                        <a:t>ja</a:t>
                      </a:r>
                      <a:endParaRPr lang="nl-NL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kstvak 5"/>
          <p:cNvSpPr txBox="1"/>
          <p:nvPr/>
        </p:nvSpPr>
        <p:spPr>
          <a:xfrm>
            <a:off x="0" y="538180"/>
            <a:ext cx="914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600" b="1" dirty="0" smtClean="0">
                <a:solidFill>
                  <a:srgbClr val="002060"/>
                </a:solidFill>
              </a:rPr>
              <a:t>1</a:t>
            </a:r>
            <a:r>
              <a:rPr lang="nl-NL" sz="1600" dirty="0" smtClean="0"/>
              <a:t> = Voorbereiding			</a:t>
            </a:r>
          </a:p>
          <a:p>
            <a:r>
              <a:rPr lang="nl-NL" sz="1600" b="1" dirty="0" smtClean="0">
                <a:solidFill>
                  <a:srgbClr val="002060"/>
                </a:solidFill>
              </a:rPr>
              <a:t>2</a:t>
            </a:r>
            <a:r>
              <a:rPr lang="nl-NL" sz="1600" dirty="0" smtClean="0"/>
              <a:t> = Selectiefase 	</a:t>
            </a:r>
          </a:p>
          <a:p>
            <a:r>
              <a:rPr lang="nl-NL" sz="1600" b="1" dirty="0" smtClean="0">
                <a:solidFill>
                  <a:srgbClr val="002060"/>
                </a:solidFill>
              </a:rPr>
              <a:t>3</a:t>
            </a:r>
            <a:r>
              <a:rPr lang="nl-NL" sz="1600" dirty="0" smtClean="0"/>
              <a:t> = Beoordelingfase / Gunningfase		</a:t>
            </a:r>
          </a:p>
          <a:p>
            <a:r>
              <a:rPr lang="nl-NL" sz="1600" b="1" dirty="0" smtClean="0">
                <a:solidFill>
                  <a:srgbClr val="002060"/>
                </a:solidFill>
              </a:rPr>
              <a:t>4</a:t>
            </a:r>
            <a:r>
              <a:rPr lang="nl-NL" sz="1600" dirty="0" smtClean="0"/>
              <a:t> = </a:t>
            </a:r>
            <a:r>
              <a:rPr lang="nl-NL" sz="1600" dirty="0" err="1" smtClean="0"/>
              <a:t>Concretiseringsfase</a:t>
            </a:r>
            <a:r>
              <a:rPr lang="nl-NL" sz="1600" dirty="0" smtClean="0"/>
              <a:t> / </a:t>
            </a:r>
            <a:r>
              <a:rPr lang="nl-NL" sz="1600" dirty="0" err="1" smtClean="0"/>
              <a:t>Pre-award</a:t>
            </a:r>
            <a:r>
              <a:rPr lang="nl-NL" sz="1600" dirty="0" smtClean="0"/>
              <a:t> fase</a:t>
            </a:r>
          </a:p>
          <a:p>
            <a:r>
              <a:rPr lang="nl-NL" sz="1600" b="1" dirty="0" smtClean="0">
                <a:solidFill>
                  <a:srgbClr val="002060"/>
                </a:solidFill>
              </a:rPr>
              <a:t>5</a:t>
            </a:r>
            <a:r>
              <a:rPr lang="nl-NL" sz="1600" dirty="0" smtClean="0"/>
              <a:t> = Uitvoeringsfase (NB: initiatief bij opdrachtnemer en binnen kaders </a:t>
            </a:r>
            <a:r>
              <a:rPr lang="nl-NL" sz="1600" dirty="0" err="1" smtClean="0"/>
              <a:t>PvA</a:t>
            </a:r>
            <a:r>
              <a:rPr lang="nl-NL" sz="1600" dirty="0" smtClean="0"/>
              <a:t>)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4108111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 descr="C:\Documents and Settings\dlodder\Bureaublad\POWERPOINT PRESENTATIE-NW-STIJL0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12701"/>
            <a:ext cx="9170988" cy="6870701"/>
          </a:xfrm>
          <a:prstGeom prst="rect">
            <a:avLst/>
          </a:prstGeom>
          <a:noFill/>
        </p:spPr>
      </p:pic>
      <p:pic>
        <p:nvPicPr>
          <p:cNvPr id="10" name="Afbeelding 9" descr="fiets 02.bmp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83768" y="3789040"/>
            <a:ext cx="1189444" cy="1440160"/>
          </a:xfrm>
          <a:prstGeom prst="rect">
            <a:avLst/>
          </a:prstGeom>
        </p:spPr>
      </p:pic>
      <p:sp>
        <p:nvSpPr>
          <p:cNvPr id="4" name="Tekstvak 3"/>
          <p:cNvSpPr txBox="1"/>
          <p:nvPr/>
        </p:nvSpPr>
        <p:spPr>
          <a:xfrm>
            <a:off x="214282" y="3000372"/>
            <a:ext cx="78581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nk voor uw aandacht.</a:t>
            </a:r>
          </a:p>
          <a:p>
            <a:endParaRPr lang="nl-N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Afbeelding 5" descr="a13943362ae56564dd370e409739bdf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2626648" cy="3501008"/>
          </a:xfrm>
          <a:prstGeom prst="rect">
            <a:avLst/>
          </a:prstGeom>
        </p:spPr>
      </p:pic>
      <p:pic>
        <p:nvPicPr>
          <p:cNvPr id="8" name="Afbeelding 7" descr="bestrating 04.bmp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-30175" y="3431259"/>
            <a:ext cx="2520280" cy="3406650"/>
          </a:xfrm>
          <a:prstGeom prst="rect">
            <a:avLst/>
          </a:prstGeom>
        </p:spPr>
      </p:pic>
      <p:pic>
        <p:nvPicPr>
          <p:cNvPr id="9" name="Afbeelding 8" descr="ef4b9740204116c9f0a3e3a6f5a68c1e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555776" y="0"/>
            <a:ext cx="2291916" cy="1662019"/>
          </a:xfrm>
          <a:prstGeom prst="rect">
            <a:avLst/>
          </a:prstGeom>
        </p:spPr>
      </p:pic>
      <p:pic>
        <p:nvPicPr>
          <p:cNvPr id="11" name="Afbeelding 10" descr="groen 06.bmp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932040" y="5229200"/>
            <a:ext cx="2372820" cy="1628800"/>
          </a:xfrm>
          <a:prstGeom prst="rect">
            <a:avLst/>
          </a:prstGeom>
        </p:spPr>
      </p:pic>
      <p:pic>
        <p:nvPicPr>
          <p:cNvPr id="12" name="Afbeelding 11" descr="kinderen 03.bmp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63888" y="4365104"/>
            <a:ext cx="1867266" cy="2492896"/>
          </a:xfrm>
          <a:prstGeom prst="rect">
            <a:avLst/>
          </a:prstGeom>
        </p:spPr>
      </p:pic>
      <p:pic>
        <p:nvPicPr>
          <p:cNvPr id="13" name="Afbeelding 12" descr="kunst 04.bmp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364088" y="3789040"/>
            <a:ext cx="1964669" cy="1448527"/>
          </a:xfrm>
          <a:prstGeom prst="rect">
            <a:avLst/>
          </a:prstGeom>
        </p:spPr>
      </p:pic>
      <p:pic>
        <p:nvPicPr>
          <p:cNvPr id="14" name="Afbeelding 13" descr="terras 02.bmp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563888" y="1772816"/>
            <a:ext cx="3620853" cy="2700298"/>
          </a:xfrm>
          <a:prstGeom prst="rect">
            <a:avLst/>
          </a:prstGeom>
        </p:spPr>
      </p:pic>
      <p:pic>
        <p:nvPicPr>
          <p:cNvPr id="15" name="Afbeelding 14" descr="water 02.bmp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935756" y="2055524"/>
            <a:ext cx="2355809" cy="3533716"/>
          </a:xfrm>
          <a:prstGeom prst="rect">
            <a:avLst/>
          </a:prstGeom>
        </p:spPr>
      </p:pic>
      <p:pic>
        <p:nvPicPr>
          <p:cNvPr id="16" name="Afbeelding 15" descr="water 05.bmp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835696" y="4959930"/>
            <a:ext cx="1839796" cy="1898070"/>
          </a:xfrm>
          <a:prstGeom prst="rect">
            <a:avLst/>
          </a:prstGeom>
        </p:spPr>
      </p:pic>
      <p:pic>
        <p:nvPicPr>
          <p:cNvPr id="17" name="Afbeelding 16" descr="zitten 05.bmp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6732240" y="5355761"/>
            <a:ext cx="2411760" cy="1502240"/>
          </a:xfrm>
          <a:prstGeom prst="rect">
            <a:avLst/>
          </a:prstGeom>
        </p:spPr>
      </p:pic>
      <p:pic>
        <p:nvPicPr>
          <p:cNvPr id="18" name="Afbeelding 17" descr="zitten 10.bmp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4489638" y="-316989"/>
            <a:ext cx="2530634" cy="2165754"/>
          </a:xfrm>
          <a:prstGeom prst="rect">
            <a:avLst/>
          </a:prstGeom>
        </p:spPr>
      </p:pic>
      <p:pic>
        <p:nvPicPr>
          <p:cNvPr id="19" name="Afbeelding 18" descr="water 02.bmp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692180" y="2060848"/>
            <a:ext cx="2451820" cy="3677732"/>
          </a:xfrm>
          <a:prstGeom prst="rect">
            <a:avLst/>
          </a:prstGeom>
        </p:spPr>
      </p:pic>
      <p:pic>
        <p:nvPicPr>
          <p:cNvPr id="5" name="Afbeelding 4" descr="602221_503124599730814_258877554_n.jp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2195020" y="1556792"/>
            <a:ext cx="2376264" cy="2376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002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114807"/>
            <a:ext cx="4774398" cy="3743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4572000" cy="3115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5976" y="-5811"/>
            <a:ext cx="4968552" cy="2975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28809" y="2970075"/>
            <a:ext cx="5111743" cy="4059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67011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2</a:t>
            </a:fld>
            <a:endParaRPr lang="nl-NL" dirty="0"/>
          </a:p>
        </p:txBody>
      </p:sp>
      <p:grpSp>
        <p:nvGrpSpPr>
          <p:cNvPr id="3" name="Groeperen 83"/>
          <p:cNvGrpSpPr/>
          <p:nvPr/>
        </p:nvGrpSpPr>
        <p:grpSpPr>
          <a:xfrm>
            <a:off x="2090794" y="933010"/>
            <a:ext cx="4834324" cy="4821905"/>
            <a:chOff x="4574059" y="1356015"/>
            <a:chExt cx="5361285" cy="5347512"/>
          </a:xfrm>
        </p:grpSpPr>
        <p:sp>
          <p:nvSpPr>
            <p:cNvPr id="4" name="object 13"/>
            <p:cNvSpPr/>
            <p:nvPr/>
          </p:nvSpPr>
          <p:spPr>
            <a:xfrm>
              <a:off x="4587806" y="1356015"/>
              <a:ext cx="5347538" cy="5347512"/>
            </a:xfrm>
            <a:custGeom>
              <a:avLst/>
              <a:gdLst/>
              <a:ahLst/>
              <a:cxnLst/>
              <a:rect l="l" t="t" r="r" b="b"/>
              <a:pathLst>
                <a:path w="5347538" h="5347512">
                  <a:moveTo>
                    <a:pt x="2673769" y="0"/>
                  </a:moveTo>
                  <a:lnTo>
                    <a:pt x="2454478" y="8863"/>
                  </a:lnTo>
                  <a:lnTo>
                    <a:pt x="2240070" y="34994"/>
                  </a:lnTo>
                  <a:lnTo>
                    <a:pt x="2031232" y="77705"/>
                  </a:lnTo>
                  <a:lnTo>
                    <a:pt x="1828652" y="136308"/>
                  </a:lnTo>
                  <a:lnTo>
                    <a:pt x="1633018" y="210114"/>
                  </a:lnTo>
                  <a:lnTo>
                    <a:pt x="1445019" y="298436"/>
                  </a:lnTo>
                  <a:lnTo>
                    <a:pt x="1265342" y="400585"/>
                  </a:lnTo>
                  <a:lnTo>
                    <a:pt x="1094676" y="515873"/>
                  </a:lnTo>
                  <a:lnTo>
                    <a:pt x="933709" y="643613"/>
                  </a:lnTo>
                  <a:lnTo>
                    <a:pt x="783129" y="783116"/>
                  </a:lnTo>
                  <a:lnTo>
                    <a:pt x="643624" y="933695"/>
                  </a:lnTo>
                  <a:lnTo>
                    <a:pt x="515882" y="1094660"/>
                  </a:lnTo>
                  <a:lnTo>
                    <a:pt x="400592" y="1265324"/>
                  </a:lnTo>
                  <a:lnTo>
                    <a:pt x="298441" y="1444999"/>
                  </a:lnTo>
                  <a:lnTo>
                    <a:pt x="210118" y="1632996"/>
                  </a:lnTo>
                  <a:lnTo>
                    <a:pt x="136310" y="1828629"/>
                  </a:lnTo>
                  <a:lnTo>
                    <a:pt x="77706" y="2031208"/>
                  </a:lnTo>
                  <a:lnTo>
                    <a:pt x="34995" y="2240045"/>
                  </a:lnTo>
                  <a:lnTo>
                    <a:pt x="8863" y="2454453"/>
                  </a:lnTo>
                  <a:lnTo>
                    <a:pt x="0" y="2673743"/>
                  </a:lnTo>
                  <a:lnTo>
                    <a:pt x="8863" y="2893035"/>
                  </a:lnTo>
                  <a:lnTo>
                    <a:pt x="34995" y="3107445"/>
                  </a:lnTo>
                  <a:lnTo>
                    <a:pt x="77706" y="3316284"/>
                  </a:lnTo>
                  <a:lnTo>
                    <a:pt x="136310" y="3518865"/>
                  </a:lnTo>
                  <a:lnTo>
                    <a:pt x="210118" y="3714499"/>
                  </a:lnTo>
                  <a:lnTo>
                    <a:pt x="298441" y="3902499"/>
                  </a:lnTo>
                  <a:lnTo>
                    <a:pt x="400592" y="4082175"/>
                  </a:lnTo>
                  <a:lnTo>
                    <a:pt x="515882" y="4252841"/>
                  </a:lnTo>
                  <a:lnTo>
                    <a:pt x="643624" y="4413808"/>
                  </a:lnTo>
                  <a:lnTo>
                    <a:pt x="783129" y="4564387"/>
                  </a:lnTo>
                  <a:lnTo>
                    <a:pt x="933709" y="4703892"/>
                  </a:lnTo>
                  <a:lnTo>
                    <a:pt x="1094676" y="4831633"/>
                  </a:lnTo>
                  <a:lnTo>
                    <a:pt x="1265342" y="4946923"/>
                  </a:lnTo>
                  <a:lnTo>
                    <a:pt x="1445019" y="5049073"/>
                  </a:lnTo>
                  <a:lnTo>
                    <a:pt x="1633018" y="5137396"/>
                  </a:lnTo>
                  <a:lnTo>
                    <a:pt x="1828652" y="5211203"/>
                  </a:lnTo>
                  <a:lnTo>
                    <a:pt x="2031232" y="5269806"/>
                  </a:lnTo>
                  <a:lnTo>
                    <a:pt x="2240070" y="5312517"/>
                  </a:lnTo>
                  <a:lnTo>
                    <a:pt x="2454478" y="5338649"/>
                  </a:lnTo>
                  <a:lnTo>
                    <a:pt x="2673769" y="5347512"/>
                  </a:lnTo>
                  <a:lnTo>
                    <a:pt x="2893059" y="5338649"/>
                  </a:lnTo>
                  <a:lnTo>
                    <a:pt x="3107467" y="5312517"/>
                  </a:lnTo>
                  <a:lnTo>
                    <a:pt x="3316306" y="5269806"/>
                  </a:lnTo>
                  <a:lnTo>
                    <a:pt x="3518886" y="5211203"/>
                  </a:lnTo>
                  <a:lnTo>
                    <a:pt x="3714519" y="5137396"/>
                  </a:lnTo>
                  <a:lnTo>
                    <a:pt x="3902519" y="5049073"/>
                  </a:lnTo>
                  <a:lnTo>
                    <a:pt x="4082195" y="4946923"/>
                  </a:lnTo>
                  <a:lnTo>
                    <a:pt x="4252861" y="4831633"/>
                  </a:lnTo>
                  <a:lnTo>
                    <a:pt x="4413828" y="4703892"/>
                  </a:lnTo>
                  <a:lnTo>
                    <a:pt x="4564408" y="4564387"/>
                  </a:lnTo>
                  <a:lnTo>
                    <a:pt x="4703913" y="4413808"/>
                  </a:lnTo>
                  <a:lnTo>
                    <a:pt x="4831655" y="4252841"/>
                  </a:lnTo>
                  <a:lnTo>
                    <a:pt x="4946945" y="4082175"/>
                  </a:lnTo>
                  <a:lnTo>
                    <a:pt x="5049096" y="3902499"/>
                  </a:lnTo>
                  <a:lnTo>
                    <a:pt x="5137419" y="3714499"/>
                  </a:lnTo>
                  <a:lnTo>
                    <a:pt x="5211227" y="3518865"/>
                  </a:lnTo>
                  <a:lnTo>
                    <a:pt x="5269831" y="3316284"/>
                  </a:lnTo>
                  <a:lnTo>
                    <a:pt x="5312543" y="3107445"/>
                  </a:lnTo>
                  <a:lnTo>
                    <a:pt x="5338674" y="2893035"/>
                  </a:lnTo>
                  <a:lnTo>
                    <a:pt x="5347538" y="2673743"/>
                  </a:lnTo>
                  <a:lnTo>
                    <a:pt x="5338674" y="2454453"/>
                  </a:lnTo>
                  <a:lnTo>
                    <a:pt x="5312543" y="2240045"/>
                  </a:lnTo>
                  <a:lnTo>
                    <a:pt x="5269831" y="2031208"/>
                  </a:lnTo>
                  <a:lnTo>
                    <a:pt x="5211227" y="1828629"/>
                  </a:lnTo>
                  <a:lnTo>
                    <a:pt x="5137419" y="1632996"/>
                  </a:lnTo>
                  <a:lnTo>
                    <a:pt x="5049096" y="1444999"/>
                  </a:lnTo>
                  <a:lnTo>
                    <a:pt x="4946945" y="1265324"/>
                  </a:lnTo>
                  <a:lnTo>
                    <a:pt x="4831655" y="1094660"/>
                  </a:lnTo>
                  <a:lnTo>
                    <a:pt x="4703913" y="933695"/>
                  </a:lnTo>
                  <a:lnTo>
                    <a:pt x="4564408" y="783116"/>
                  </a:lnTo>
                  <a:lnTo>
                    <a:pt x="4413828" y="643613"/>
                  </a:lnTo>
                  <a:lnTo>
                    <a:pt x="4252861" y="515873"/>
                  </a:lnTo>
                  <a:lnTo>
                    <a:pt x="4082195" y="400585"/>
                  </a:lnTo>
                  <a:lnTo>
                    <a:pt x="3902519" y="298436"/>
                  </a:lnTo>
                  <a:lnTo>
                    <a:pt x="3714519" y="210114"/>
                  </a:lnTo>
                  <a:lnTo>
                    <a:pt x="3518886" y="136308"/>
                  </a:lnTo>
                  <a:lnTo>
                    <a:pt x="3316306" y="77705"/>
                  </a:lnTo>
                  <a:lnTo>
                    <a:pt x="3107467" y="34994"/>
                  </a:lnTo>
                  <a:lnTo>
                    <a:pt x="2893059" y="8863"/>
                  </a:lnTo>
                  <a:lnTo>
                    <a:pt x="2673769" y="0"/>
                  </a:lnTo>
                  <a:close/>
                </a:path>
              </a:pathLst>
            </a:custGeom>
            <a:solidFill>
              <a:srgbClr val="E7EFBB"/>
            </a:solidFill>
            <a:effectLst>
              <a:outerShdw blurRad="127000" dist="190500" dir="2700000" algn="tl" rotWithShape="0">
                <a:srgbClr val="000000">
                  <a:alpha val="10000"/>
                </a:srgbClr>
              </a:outerShdw>
            </a:effectLst>
          </p:spPr>
          <p:txBody>
            <a:bodyPr wrap="square" lIns="0" tIns="0" rIns="0" bIns="0" rtlCol="0">
              <a:spAutoFit/>
            </a:bodyPr>
            <a:lstStyle/>
            <a:p>
              <a:endParaRPr dirty="0"/>
            </a:p>
          </p:txBody>
        </p:sp>
        <p:grpSp>
          <p:nvGrpSpPr>
            <p:cNvPr id="5" name="Groeperen 85"/>
            <p:cNvGrpSpPr/>
            <p:nvPr/>
          </p:nvGrpSpPr>
          <p:grpSpPr>
            <a:xfrm>
              <a:off x="4574059" y="1356015"/>
              <a:ext cx="5347538" cy="5347512"/>
              <a:chOff x="4574059" y="1356015"/>
              <a:chExt cx="5347538" cy="5347512"/>
            </a:xfrm>
          </p:grpSpPr>
          <p:sp>
            <p:nvSpPr>
              <p:cNvPr id="6" name="object 14"/>
              <p:cNvSpPr/>
              <p:nvPr/>
            </p:nvSpPr>
            <p:spPr>
              <a:xfrm>
                <a:off x="4574059" y="1356015"/>
                <a:ext cx="5347538" cy="5347512"/>
              </a:xfrm>
              <a:custGeom>
                <a:avLst/>
                <a:gdLst/>
                <a:ahLst/>
                <a:cxnLst/>
                <a:rect l="l" t="t" r="r" b="b"/>
                <a:pathLst>
                  <a:path w="5347538" h="5347512">
                    <a:moveTo>
                      <a:pt x="2673769" y="5347512"/>
                    </a:moveTo>
                    <a:lnTo>
                      <a:pt x="2893059" y="5338649"/>
                    </a:lnTo>
                    <a:lnTo>
                      <a:pt x="3107467" y="5312517"/>
                    </a:lnTo>
                    <a:lnTo>
                      <a:pt x="3316306" y="5269806"/>
                    </a:lnTo>
                    <a:lnTo>
                      <a:pt x="3518886" y="5211203"/>
                    </a:lnTo>
                    <a:lnTo>
                      <a:pt x="3714519" y="5137396"/>
                    </a:lnTo>
                    <a:lnTo>
                      <a:pt x="3902519" y="5049073"/>
                    </a:lnTo>
                    <a:lnTo>
                      <a:pt x="4082195" y="4946923"/>
                    </a:lnTo>
                    <a:lnTo>
                      <a:pt x="4252861" y="4831633"/>
                    </a:lnTo>
                    <a:lnTo>
                      <a:pt x="4413828" y="4703892"/>
                    </a:lnTo>
                    <a:lnTo>
                      <a:pt x="4564408" y="4564387"/>
                    </a:lnTo>
                    <a:lnTo>
                      <a:pt x="4703913" y="4413808"/>
                    </a:lnTo>
                    <a:lnTo>
                      <a:pt x="4831655" y="4252841"/>
                    </a:lnTo>
                    <a:lnTo>
                      <a:pt x="4946945" y="4082175"/>
                    </a:lnTo>
                    <a:lnTo>
                      <a:pt x="5049096" y="3902499"/>
                    </a:lnTo>
                    <a:lnTo>
                      <a:pt x="5137419" y="3714499"/>
                    </a:lnTo>
                    <a:lnTo>
                      <a:pt x="5211227" y="3518865"/>
                    </a:lnTo>
                    <a:lnTo>
                      <a:pt x="5269831" y="3316284"/>
                    </a:lnTo>
                    <a:lnTo>
                      <a:pt x="5312543" y="3107445"/>
                    </a:lnTo>
                    <a:lnTo>
                      <a:pt x="5338674" y="2893035"/>
                    </a:lnTo>
                    <a:lnTo>
                      <a:pt x="5347538" y="2673743"/>
                    </a:lnTo>
                    <a:lnTo>
                      <a:pt x="5338674" y="2454453"/>
                    </a:lnTo>
                    <a:lnTo>
                      <a:pt x="5312543" y="2240045"/>
                    </a:lnTo>
                    <a:lnTo>
                      <a:pt x="5269831" y="2031208"/>
                    </a:lnTo>
                    <a:lnTo>
                      <a:pt x="5211227" y="1828629"/>
                    </a:lnTo>
                    <a:lnTo>
                      <a:pt x="5137419" y="1632996"/>
                    </a:lnTo>
                    <a:lnTo>
                      <a:pt x="5049096" y="1444999"/>
                    </a:lnTo>
                    <a:lnTo>
                      <a:pt x="4946945" y="1265324"/>
                    </a:lnTo>
                    <a:lnTo>
                      <a:pt x="4831655" y="1094660"/>
                    </a:lnTo>
                    <a:lnTo>
                      <a:pt x="4703913" y="933695"/>
                    </a:lnTo>
                    <a:lnTo>
                      <a:pt x="4564408" y="783116"/>
                    </a:lnTo>
                    <a:lnTo>
                      <a:pt x="4413828" y="643613"/>
                    </a:lnTo>
                    <a:lnTo>
                      <a:pt x="4252861" y="515873"/>
                    </a:lnTo>
                    <a:lnTo>
                      <a:pt x="4082195" y="400585"/>
                    </a:lnTo>
                    <a:lnTo>
                      <a:pt x="3902519" y="298436"/>
                    </a:lnTo>
                    <a:lnTo>
                      <a:pt x="3714519" y="210114"/>
                    </a:lnTo>
                    <a:lnTo>
                      <a:pt x="3518886" y="136308"/>
                    </a:lnTo>
                    <a:lnTo>
                      <a:pt x="3316306" y="77705"/>
                    </a:lnTo>
                    <a:lnTo>
                      <a:pt x="3107467" y="34994"/>
                    </a:lnTo>
                    <a:lnTo>
                      <a:pt x="2893059" y="8863"/>
                    </a:lnTo>
                    <a:lnTo>
                      <a:pt x="2673769" y="0"/>
                    </a:lnTo>
                    <a:lnTo>
                      <a:pt x="2454478" y="8863"/>
                    </a:lnTo>
                    <a:lnTo>
                      <a:pt x="2240070" y="34994"/>
                    </a:lnTo>
                    <a:lnTo>
                      <a:pt x="2031232" y="77705"/>
                    </a:lnTo>
                    <a:lnTo>
                      <a:pt x="1828652" y="136308"/>
                    </a:lnTo>
                    <a:lnTo>
                      <a:pt x="1633018" y="210114"/>
                    </a:lnTo>
                    <a:lnTo>
                      <a:pt x="1445019" y="298436"/>
                    </a:lnTo>
                    <a:lnTo>
                      <a:pt x="1265342" y="400585"/>
                    </a:lnTo>
                    <a:lnTo>
                      <a:pt x="1094676" y="515873"/>
                    </a:lnTo>
                    <a:lnTo>
                      <a:pt x="933709" y="643613"/>
                    </a:lnTo>
                    <a:lnTo>
                      <a:pt x="783129" y="783116"/>
                    </a:lnTo>
                    <a:lnTo>
                      <a:pt x="643624" y="933695"/>
                    </a:lnTo>
                    <a:lnTo>
                      <a:pt x="515882" y="1094660"/>
                    </a:lnTo>
                    <a:lnTo>
                      <a:pt x="400592" y="1265324"/>
                    </a:lnTo>
                    <a:lnTo>
                      <a:pt x="298441" y="1444999"/>
                    </a:lnTo>
                    <a:lnTo>
                      <a:pt x="210118" y="1632996"/>
                    </a:lnTo>
                    <a:lnTo>
                      <a:pt x="136310" y="1828629"/>
                    </a:lnTo>
                    <a:lnTo>
                      <a:pt x="77706" y="2031208"/>
                    </a:lnTo>
                    <a:lnTo>
                      <a:pt x="34995" y="2240045"/>
                    </a:lnTo>
                    <a:lnTo>
                      <a:pt x="8863" y="2454453"/>
                    </a:lnTo>
                    <a:lnTo>
                      <a:pt x="0" y="2673743"/>
                    </a:lnTo>
                    <a:lnTo>
                      <a:pt x="8863" y="2893035"/>
                    </a:lnTo>
                    <a:lnTo>
                      <a:pt x="34995" y="3107445"/>
                    </a:lnTo>
                    <a:lnTo>
                      <a:pt x="77706" y="3316284"/>
                    </a:lnTo>
                    <a:lnTo>
                      <a:pt x="136310" y="3518865"/>
                    </a:lnTo>
                    <a:lnTo>
                      <a:pt x="210118" y="3714499"/>
                    </a:lnTo>
                    <a:lnTo>
                      <a:pt x="298441" y="3902499"/>
                    </a:lnTo>
                    <a:lnTo>
                      <a:pt x="400592" y="4082175"/>
                    </a:lnTo>
                    <a:lnTo>
                      <a:pt x="515882" y="4252841"/>
                    </a:lnTo>
                    <a:lnTo>
                      <a:pt x="643624" y="4413808"/>
                    </a:lnTo>
                    <a:lnTo>
                      <a:pt x="783129" y="4564387"/>
                    </a:lnTo>
                    <a:lnTo>
                      <a:pt x="933709" y="4703892"/>
                    </a:lnTo>
                    <a:lnTo>
                      <a:pt x="1094676" y="4831633"/>
                    </a:lnTo>
                    <a:lnTo>
                      <a:pt x="1265342" y="4946923"/>
                    </a:lnTo>
                    <a:lnTo>
                      <a:pt x="1445019" y="5049073"/>
                    </a:lnTo>
                    <a:lnTo>
                      <a:pt x="1633018" y="5137396"/>
                    </a:lnTo>
                    <a:lnTo>
                      <a:pt x="1828652" y="5211203"/>
                    </a:lnTo>
                    <a:lnTo>
                      <a:pt x="2031232" y="5269806"/>
                    </a:lnTo>
                    <a:lnTo>
                      <a:pt x="2240070" y="5312517"/>
                    </a:lnTo>
                    <a:lnTo>
                      <a:pt x="2454478" y="5338649"/>
                    </a:lnTo>
                    <a:lnTo>
                      <a:pt x="2673769" y="5347512"/>
                    </a:lnTo>
                    <a:close/>
                  </a:path>
                </a:pathLst>
              </a:custGeom>
              <a:ln w="4127">
                <a:solidFill>
                  <a:srgbClr val="231F20"/>
                </a:solidFill>
              </a:ln>
            </p:spPr>
            <p:txBody>
              <a:bodyPr wrap="square" lIns="0" tIns="0" rIns="0" bIns="0" rtlCol="0">
                <a:spAutoFit/>
              </a:bodyPr>
              <a:lstStyle/>
              <a:p>
                <a:endParaRPr dirty="0"/>
              </a:p>
            </p:txBody>
          </p:sp>
          <p:sp>
            <p:nvSpPr>
              <p:cNvPr id="7" name="object 15"/>
              <p:cNvSpPr txBox="1"/>
              <p:nvPr/>
            </p:nvSpPr>
            <p:spPr>
              <a:xfrm>
                <a:off x="5831554" y="1978238"/>
                <a:ext cx="3270250" cy="23892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</a:pPr>
                <a:endParaRPr sz="1400" dirty="0">
                  <a:latin typeface="Arial"/>
                  <a:cs typeface="Arial"/>
                </a:endParaRPr>
              </a:p>
            </p:txBody>
          </p:sp>
          <p:sp>
            <p:nvSpPr>
              <p:cNvPr id="8" name="object 16"/>
              <p:cNvSpPr txBox="1"/>
              <p:nvPr/>
            </p:nvSpPr>
            <p:spPr>
              <a:xfrm>
                <a:off x="5831554" y="4181289"/>
                <a:ext cx="3168650" cy="27306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76530" indent="-164465">
                  <a:lnSpc>
                    <a:spcPct val="100000"/>
                  </a:lnSpc>
                  <a:buClr>
                    <a:srgbClr val="231F20"/>
                  </a:buClr>
                  <a:buFont typeface="TheSerifSemiLight-Italic"/>
                  <a:buChar char="•"/>
                  <a:tabLst>
                    <a:tab pos="176530" algn="l"/>
                  </a:tabLst>
                </a:pPr>
                <a:endParaRPr sz="1600" dirty="0">
                  <a:latin typeface="Arial"/>
                  <a:cs typeface="Arial"/>
                </a:endParaRPr>
              </a:p>
            </p:txBody>
          </p:sp>
          <p:sp>
            <p:nvSpPr>
              <p:cNvPr id="10" name="object 19"/>
              <p:cNvSpPr txBox="1"/>
              <p:nvPr/>
            </p:nvSpPr>
            <p:spPr>
              <a:xfrm>
                <a:off x="6635750" y="3660513"/>
                <a:ext cx="1143000" cy="204795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</a:pPr>
                <a:endParaRPr sz="1200" dirty="0">
                  <a:latin typeface="Arial"/>
                  <a:cs typeface="Arial"/>
                </a:endParaRPr>
              </a:p>
            </p:txBody>
          </p:sp>
        </p:grpSp>
      </p:grpSp>
      <p:pic>
        <p:nvPicPr>
          <p:cNvPr id="29" name="Afbeelding 2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71065">
            <a:off x="6857889" y="635722"/>
            <a:ext cx="742950" cy="1571625"/>
          </a:xfrm>
          <a:prstGeom prst="rect">
            <a:avLst/>
          </a:prstGeom>
        </p:spPr>
      </p:pic>
      <p:pic>
        <p:nvPicPr>
          <p:cNvPr id="30" name="Afbeelding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688772">
            <a:off x="6998278" y="4452795"/>
            <a:ext cx="742950" cy="1571625"/>
          </a:xfrm>
          <a:prstGeom prst="rect">
            <a:avLst/>
          </a:prstGeom>
        </p:spPr>
      </p:pic>
      <p:pic>
        <p:nvPicPr>
          <p:cNvPr id="31" name="Afbeelding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63965">
            <a:off x="1300257" y="4587810"/>
            <a:ext cx="742950" cy="1571625"/>
          </a:xfrm>
          <a:prstGeom prst="rect">
            <a:avLst/>
          </a:prstGeom>
        </p:spPr>
      </p:pic>
      <p:pic>
        <p:nvPicPr>
          <p:cNvPr id="32" name="Afbeelding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567828">
            <a:off x="1688978" y="264306"/>
            <a:ext cx="742950" cy="1571625"/>
          </a:xfrm>
          <a:prstGeom prst="rect">
            <a:avLst/>
          </a:prstGeom>
        </p:spPr>
      </p:pic>
      <p:sp>
        <p:nvSpPr>
          <p:cNvPr id="33" name="Tekstvak 32"/>
          <p:cNvSpPr txBox="1"/>
          <p:nvPr/>
        </p:nvSpPr>
        <p:spPr>
          <a:xfrm>
            <a:off x="570022" y="319849"/>
            <a:ext cx="262432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e</a:t>
            </a:r>
            <a:r>
              <a:rPr lang="nl-NL" dirty="0" smtClean="0"/>
              <a:t>nergie-transitie</a:t>
            </a:r>
          </a:p>
        </p:txBody>
      </p:sp>
      <p:sp>
        <p:nvSpPr>
          <p:cNvPr id="34" name="Tekstvak 33"/>
          <p:cNvSpPr txBox="1"/>
          <p:nvPr/>
        </p:nvSpPr>
        <p:spPr>
          <a:xfrm>
            <a:off x="6655713" y="181348"/>
            <a:ext cx="243362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p</a:t>
            </a:r>
            <a:r>
              <a:rPr lang="nl-NL" dirty="0" smtClean="0"/>
              <a:t>olarisatie</a:t>
            </a:r>
          </a:p>
          <a:p>
            <a:r>
              <a:rPr lang="nl-NL" dirty="0"/>
              <a:t>g</a:t>
            </a:r>
            <a:r>
              <a:rPr lang="nl-NL" dirty="0" smtClean="0"/>
              <a:t>roei en krimp</a:t>
            </a:r>
          </a:p>
        </p:txBody>
      </p:sp>
      <p:sp>
        <p:nvSpPr>
          <p:cNvPr id="36" name="Tekstvak 35"/>
          <p:cNvSpPr txBox="1"/>
          <p:nvPr/>
        </p:nvSpPr>
        <p:spPr>
          <a:xfrm>
            <a:off x="6051553" y="6000040"/>
            <a:ext cx="312884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 smtClean="0"/>
              <a:t>waterveiligheid</a:t>
            </a:r>
          </a:p>
        </p:txBody>
      </p:sp>
      <p:sp>
        <p:nvSpPr>
          <p:cNvPr id="37" name="Tekstvak 36"/>
          <p:cNvSpPr txBox="1"/>
          <p:nvPr/>
        </p:nvSpPr>
        <p:spPr>
          <a:xfrm>
            <a:off x="201168" y="6071616"/>
            <a:ext cx="258775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/>
              <a:t>t</a:t>
            </a:r>
            <a:r>
              <a:rPr lang="nl-NL" dirty="0" smtClean="0"/>
              <a:t>ransities in de landbouw</a:t>
            </a:r>
          </a:p>
        </p:txBody>
      </p:sp>
      <p:sp>
        <p:nvSpPr>
          <p:cNvPr id="9" name="Ovaal 8"/>
          <p:cNvSpPr/>
          <p:nvPr/>
        </p:nvSpPr>
        <p:spPr>
          <a:xfrm>
            <a:off x="3454121" y="2318954"/>
            <a:ext cx="2107671" cy="205001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l-NL" smtClean="0"/>
          </a:p>
        </p:txBody>
      </p:sp>
      <p:sp>
        <p:nvSpPr>
          <p:cNvPr id="12" name="Tekstvak 11"/>
          <p:cNvSpPr txBox="1"/>
          <p:nvPr/>
        </p:nvSpPr>
        <p:spPr>
          <a:xfrm>
            <a:off x="3504332" y="2988144"/>
            <a:ext cx="21031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600" dirty="0" smtClean="0"/>
              <a:t>       </a:t>
            </a:r>
            <a:r>
              <a:rPr lang="nl-NL" sz="1600" b="1" dirty="0" smtClean="0">
                <a:solidFill>
                  <a:srgbClr val="00B0F0"/>
                </a:solidFill>
              </a:rPr>
              <a:t>werkwijze</a:t>
            </a:r>
          </a:p>
          <a:p>
            <a:r>
              <a:rPr lang="nl-NL" sz="1600" b="1" dirty="0" smtClean="0">
                <a:solidFill>
                  <a:srgbClr val="00B0F0"/>
                </a:solidFill>
              </a:rPr>
              <a:t>gebiedsontwikkeling</a:t>
            </a:r>
          </a:p>
        </p:txBody>
      </p:sp>
      <p:sp>
        <p:nvSpPr>
          <p:cNvPr id="13" name="Tekstvak 12"/>
          <p:cNvSpPr txBox="1"/>
          <p:nvPr/>
        </p:nvSpPr>
        <p:spPr>
          <a:xfrm>
            <a:off x="3794639" y="1518932"/>
            <a:ext cx="200638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dirty="0" smtClean="0"/>
              <a:t>  </a:t>
            </a:r>
            <a:r>
              <a:rPr lang="nl-NL" b="1" dirty="0" smtClean="0">
                <a:solidFill>
                  <a:srgbClr val="00B0F0"/>
                </a:solidFill>
              </a:rPr>
              <a:t>opgaven</a:t>
            </a:r>
          </a:p>
        </p:txBody>
      </p:sp>
      <p:pic>
        <p:nvPicPr>
          <p:cNvPr id="22" name="Afbeelding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60872">
            <a:off x="3463231" y="3847249"/>
            <a:ext cx="416690" cy="881459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417048">
            <a:off x="5412017" y="2197681"/>
            <a:ext cx="390871" cy="826843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570323">
            <a:off x="5235193" y="3754604"/>
            <a:ext cx="390871" cy="826843"/>
          </a:xfrm>
          <a:prstGeom prst="rect">
            <a:avLst/>
          </a:prstGeom>
        </p:spPr>
      </p:pic>
      <p:pic>
        <p:nvPicPr>
          <p:cNvPr id="25" name="Afbeelding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940773">
            <a:off x="3486993" y="2077835"/>
            <a:ext cx="390871" cy="826843"/>
          </a:xfrm>
          <a:prstGeom prst="rect">
            <a:avLst/>
          </a:prstGeom>
        </p:spPr>
      </p:pic>
      <p:sp>
        <p:nvSpPr>
          <p:cNvPr id="11" name="Tekstvak 10"/>
          <p:cNvSpPr txBox="1"/>
          <p:nvPr/>
        </p:nvSpPr>
        <p:spPr>
          <a:xfrm>
            <a:off x="2722876" y="181347"/>
            <a:ext cx="414991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b="1" dirty="0" smtClean="0">
                <a:solidFill>
                  <a:srgbClr val="00B0F0"/>
                </a:solidFill>
              </a:rPr>
              <a:t>Maatschappelijke dynamiek</a:t>
            </a:r>
          </a:p>
        </p:txBody>
      </p:sp>
      <p:pic>
        <p:nvPicPr>
          <p:cNvPr id="26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87216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8867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044624" y="0"/>
            <a:ext cx="9793088" cy="6120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525562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4429000" y="-315416"/>
            <a:ext cx="18288000" cy="1143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226339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24544" y="-1107504"/>
            <a:ext cx="18288000" cy="1143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2012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6713" y="207963"/>
            <a:ext cx="8409600" cy="923330"/>
          </a:xfrm>
        </p:spPr>
        <p:txBody>
          <a:bodyPr/>
          <a:lstStyle/>
          <a:p>
            <a:r>
              <a:rPr lang="nl-NL" dirty="0" smtClean="0">
                <a:solidFill>
                  <a:srgbClr val="00B0F0"/>
                </a:solidFill>
              </a:rPr>
              <a:t>Leerstuk gebiedsontwikkeling</a:t>
            </a:r>
            <a:r>
              <a:rPr lang="nl-NL" dirty="0">
                <a:solidFill>
                  <a:srgbClr val="46A2DA"/>
                </a:solidFill>
              </a:rPr>
              <a:t/>
            </a:r>
            <a:br>
              <a:rPr lang="nl-NL" dirty="0">
                <a:solidFill>
                  <a:srgbClr val="46A2DA"/>
                </a:solidFill>
              </a:rPr>
            </a:br>
            <a:endParaRPr lang="nl-NL" dirty="0">
              <a:solidFill>
                <a:srgbClr val="46A2DA"/>
              </a:solidFill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18488" y="1176338"/>
            <a:ext cx="8409600" cy="4826000"/>
          </a:xfrm>
        </p:spPr>
        <p:txBody>
          <a:bodyPr/>
          <a:lstStyle/>
          <a:p>
            <a:pPr lvl="0"/>
            <a:r>
              <a:rPr lang="nl-NL" sz="2400" dirty="0" smtClean="0"/>
              <a:t>(her)ontwikkeling van een gebied met investeringen</a:t>
            </a:r>
          </a:p>
          <a:p>
            <a:pPr marL="0" lvl="0" indent="0">
              <a:buNone/>
            </a:pPr>
            <a:r>
              <a:rPr lang="nl-NL" sz="2400" dirty="0"/>
              <a:t> </a:t>
            </a:r>
            <a:r>
              <a:rPr lang="nl-NL" sz="2400" dirty="0" smtClean="0"/>
              <a:t>  </a:t>
            </a:r>
            <a:r>
              <a:rPr lang="nl-NL" sz="2000" dirty="0" smtClean="0"/>
              <a:t>publieke/markt/particuliere investeringen</a:t>
            </a:r>
          </a:p>
          <a:p>
            <a:pPr lvl="0"/>
            <a:endParaRPr lang="nl-NL" sz="2400" dirty="0"/>
          </a:p>
          <a:p>
            <a:pPr lvl="0"/>
            <a:r>
              <a:rPr lang="nl-NL" sz="2400" dirty="0"/>
              <a:t>c</a:t>
            </a:r>
            <a:r>
              <a:rPr lang="nl-NL" sz="2400" dirty="0" smtClean="0"/>
              <a:t>ombinatie van functies</a:t>
            </a:r>
          </a:p>
          <a:p>
            <a:pPr marL="0" lvl="0" indent="0">
              <a:buNone/>
            </a:pPr>
            <a:endParaRPr lang="nl-NL" sz="2400" dirty="0"/>
          </a:p>
          <a:p>
            <a:pPr lvl="0"/>
            <a:r>
              <a:rPr lang="nl-NL" sz="2400" dirty="0"/>
              <a:t>m</a:t>
            </a:r>
            <a:r>
              <a:rPr lang="nl-NL" sz="2400" dirty="0" smtClean="0"/>
              <a:t>ultidisciplinair</a:t>
            </a:r>
          </a:p>
          <a:p>
            <a:pPr marL="0" lvl="0" indent="0">
              <a:buNone/>
            </a:pPr>
            <a:endParaRPr lang="nl-NL" sz="2400" dirty="0"/>
          </a:p>
          <a:p>
            <a:pPr lvl="0"/>
            <a:r>
              <a:rPr lang="nl-NL" sz="2400" dirty="0"/>
              <a:t>fusie van </a:t>
            </a:r>
            <a:r>
              <a:rPr lang="nl-NL" sz="2400" dirty="0" smtClean="0"/>
              <a:t>belangen</a:t>
            </a:r>
          </a:p>
          <a:p>
            <a:pPr marL="0" lvl="0" indent="0">
              <a:buNone/>
            </a:pPr>
            <a:endParaRPr lang="nl-NL" sz="2400" dirty="0"/>
          </a:p>
          <a:p>
            <a:pPr lvl="0"/>
            <a:r>
              <a:rPr lang="nl-NL" sz="2400" dirty="0"/>
              <a:t>ruimtelijke </a:t>
            </a:r>
            <a:r>
              <a:rPr lang="nl-NL" sz="2400" dirty="0" smtClean="0"/>
              <a:t>kwaliteit</a:t>
            </a:r>
          </a:p>
          <a:p>
            <a:pPr marL="0" lvl="0" indent="0">
              <a:buNone/>
            </a:pPr>
            <a:endParaRPr lang="nl-NL" sz="2400" dirty="0"/>
          </a:p>
          <a:p>
            <a:pPr lvl="0"/>
            <a:r>
              <a:rPr lang="nl-NL" sz="2400" dirty="0" smtClean="0"/>
              <a:t>kloppende business-case en/of overheidsbudget</a:t>
            </a:r>
          </a:p>
          <a:p>
            <a:pPr marL="0" lvl="0" indent="0">
              <a:buNone/>
            </a:pPr>
            <a:r>
              <a:rPr lang="nl-NL" sz="2400" dirty="0"/>
              <a:t> </a:t>
            </a:r>
            <a:r>
              <a:rPr lang="nl-NL" sz="2400" dirty="0" smtClean="0"/>
              <a:t>  </a:t>
            </a:r>
            <a:r>
              <a:rPr lang="nl-NL" sz="2000" dirty="0" smtClean="0"/>
              <a:t>met risico-attributie en financieringsmodel</a:t>
            </a:r>
            <a:endParaRPr lang="nl-NL" sz="2000" dirty="0"/>
          </a:p>
          <a:p>
            <a:endParaRPr lang="nl-NL" sz="24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3</a:t>
            </a:fld>
            <a:endParaRPr lang="nl-NL"/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87216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161329" y="6536073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  <p:pic>
        <p:nvPicPr>
          <p:cNvPr id="7" name="Picture 2" descr="Hom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41"/>
          <a:stretch/>
        </p:blipFill>
        <p:spPr bwMode="auto">
          <a:xfrm>
            <a:off x="6729590" y="5939811"/>
            <a:ext cx="1266577" cy="727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87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207963"/>
            <a:ext cx="8542338" cy="461665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>
                <a:cs typeface="Arial"/>
              </a:rPr>
              <a:t>proces gebiedsontwikkeling</a:t>
            </a:r>
            <a:endParaRPr lang="nl-NL" dirty="0"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98741" y="6609348"/>
            <a:ext cx="78547" cy="169277"/>
          </a:xfrm>
        </p:spPr>
        <p:txBody>
          <a:bodyPr/>
          <a:lstStyle/>
          <a:p>
            <a:fld id="{8DA1EC87-F007-413E-9577-D1D88117C3DE}" type="slidenum">
              <a:rPr lang="nl-NL" smtClean="0"/>
              <a:pPr/>
              <a:t>4</a:t>
            </a:fld>
            <a:endParaRPr lang="nl-NL"/>
          </a:p>
        </p:txBody>
      </p:sp>
      <p:sp>
        <p:nvSpPr>
          <p:cNvPr id="24" name="Tekstvak 23"/>
          <p:cNvSpPr txBox="1"/>
          <p:nvPr/>
        </p:nvSpPr>
        <p:spPr>
          <a:xfrm>
            <a:off x="3904233" y="528419"/>
            <a:ext cx="5004817" cy="58477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nl-NL" sz="1600" b="1" spc="9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The big picture</a:t>
            </a:r>
          </a:p>
          <a:p>
            <a:pPr algn="r"/>
            <a:endParaRPr lang="nl-NL" sz="1600" b="1" i="1" spc="9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</p:txBody>
      </p:sp>
      <p:grpSp>
        <p:nvGrpSpPr>
          <p:cNvPr id="22" name="Groeperen 21"/>
          <p:cNvGrpSpPr/>
          <p:nvPr/>
        </p:nvGrpSpPr>
        <p:grpSpPr>
          <a:xfrm>
            <a:off x="414018" y="1524000"/>
            <a:ext cx="8495032" cy="4217540"/>
            <a:chOff x="539750" y="1498600"/>
            <a:chExt cx="9906000" cy="4918045"/>
          </a:xfrm>
        </p:grpSpPr>
        <p:pic>
          <p:nvPicPr>
            <p:cNvPr id="23" name="Afbeelding 2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667750" y="3175000"/>
              <a:ext cx="1778000" cy="1778000"/>
            </a:xfrm>
            <a:prstGeom prst="rect">
              <a:avLst/>
            </a:prstGeom>
          </p:spPr>
        </p:pic>
        <p:sp>
          <p:nvSpPr>
            <p:cNvPr id="42" name="object 132"/>
            <p:cNvSpPr/>
            <p:nvPr/>
          </p:nvSpPr>
          <p:spPr>
            <a:xfrm>
              <a:off x="8910680" y="3865085"/>
              <a:ext cx="1406441" cy="315858"/>
            </a:xfrm>
            <a:custGeom>
              <a:avLst/>
              <a:gdLst/>
              <a:ahLst/>
              <a:cxnLst/>
              <a:rect l="l" t="t" r="r" b="b"/>
              <a:pathLst>
                <a:path w="1406441" h="315858">
                  <a:moveTo>
                    <a:pt x="78672" y="0"/>
                  </a:moveTo>
                  <a:lnTo>
                    <a:pt x="34410" y="981"/>
                  </a:lnTo>
                  <a:lnTo>
                    <a:pt x="1673" y="26495"/>
                  </a:lnTo>
                  <a:lnTo>
                    <a:pt x="0" y="62804"/>
                  </a:lnTo>
                  <a:lnTo>
                    <a:pt x="41" y="253057"/>
                  </a:lnTo>
                  <a:lnTo>
                    <a:pt x="3708" y="297577"/>
                  </a:lnTo>
                  <a:lnTo>
                    <a:pt x="47155" y="315590"/>
                  </a:lnTo>
                  <a:lnTo>
                    <a:pt x="70391" y="315858"/>
                  </a:lnTo>
                  <a:lnTo>
                    <a:pt x="1352911" y="315739"/>
                  </a:lnTo>
                  <a:lnTo>
                    <a:pt x="1395497" y="308011"/>
                  </a:lnTo>
                  <a:lnTo>
                    <a:pt x="1406441" y="253057"/>
                  </a:lnTo>
                  <a:lnTo>
                    <a:pt x="1406399" y="62804"/>
                  </a:lnTo>
                  <a:lnTo>
                    <a:pt x="1402732" y="18284"/>
                  </a:lnTo>
                  <a:lnTo>
                    <a:pt x="1359285" y="270"/>
                  </a:lnTo>
                  <a:lnTo>
                    <a:pt x="7867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>
              <a:spAutoFit/>
            </a:bodyPr>
            <a:lstStyle/>
            <a:p>
              <a:endParaRPr/>
            </a:p>
          </p:txBody>
        </p:sp>
        <p:sp>
          <p:nvSpPr>
            <p:cNvPr id="43" name="object 137"/>
            <p:cNvSpPr txBox="1"/>
            <p:nvPr/>
          </p:nvSpPr>
          <p:spPr>
            <a:xfrm>
              <a:off x="8896350" y="3908165"/>
              <a:ext cx="1447800" cy="21533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sz="1200" spc="100" dirty="0" smtClean="0">
                  <a:solidFill>
                    <a:srgbClr val="231F20"/>
                  </a:solidFill>
                  <a:latin typeface="Arial"/>
                  <a:cs typeface="Arial"/>
                </a:rPr>
                <a:t>OPLEVERING </a:t>
              </a:r>
              <a:endParaRPr sz="1200" spc="100" dirty="0">
                <a:latin typeface="Arial"/>
                <a:cs typeface="Arial"/>
              </a:endParaRPr>
            </a:p>
          </p:txBody>
        </p:sp>
        <p:grpSp>
          <p:nvGrpSpPr>
            <p:cNvPr id="44" name="Groeperen 43"/>
            <p:cNvGrpSpPr/>
            <p:nvPr/>
          </p:nvGrpSpPr>
          <p:grpSpPr>
            <a:xfrm>
              <a:off x="539750" y="1498600"/>
              <a:ext cx="8001000" cy="4918045"/>
              <a:chOff x="539750" y="1498600"/>
              <a:chExt cx="8001000" cy="4918045"/>
            </a:xfrm>
          </p:grpSpPr>
          <p:sp>
            <p:nvSpPr>
              <p:cNvPr id="45" name="Ovaal 44"/>
              <p:cNvSpPr/>
              <p:nvPr/>
            </p:nvSpPr>
            <p:spPr>
              <a:xfrm>
                <a:off x="539750" y="1498600"/>
                <a:ext cx="8001000" cy="4918045"/>
              </a:xfrm>
              <a:prstGeom prst="ellipse">
                <a:avLst/>
              </a:prstGeom>
              <a:solidFill>
                <a:srgbClr val="F6C89C"/>
              </a:solidFill>
              <a:ln>
                <a:noFill/>
              </a:ln>
              <a:effectLst>
                <a:outerShdw blurRad="127000" dist="127000" dir="7620000" rotWithShape="0">
                  <a:srgbClr val="000000">
                    <a:alpha val="4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6" name="Ovaal 45"/>
              <p:cNvSpPr/>
              <p:nvPr/>
            </p:nvSpPr>
            <p:spPr>
              <a:xfrm>
                <a:off x="2520950" y="2060662"/>
                <a:ext cx="6019800" cy="3793921"/>
              </a:xfrm>
              <a:prstGeom prst="ellipse">
                <a:avLst/>
              </a:prstGeom>
              <a:solidFill>
                <a:srgbClr val="E4EDAF"/>
              </a:solidFill>
              <a:ln>
                <a:noFill/>
              </a:ln>
              <a:effectLst>
                <a:outerShdw blurRad="127000" dist="127000" dir="7620000" rotWithShape="0">
                  <a:srgbClr val="000000">
                    <a:alpha val="4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7" name="Ovaal 46"/>
              <p:cNvSpPr/>
              <p:nvPr/>
            </p:nvSpPr>
            <p:spPr>
              <a:xfrm>
                <a:off x="4273551" y="2540906"/>
                <a:ext cx="4267199" cy="2833433"/>
              </a:xfrm>
              <a:prstGeom prst="ellipse">
                <a:avLst/>
              </a:prstGeom>
              <a:solidFill>
                <a:srgbClr val="97D2E7"/>
              </a:solidFill>
              <a:ln>
                <a:noFill/>
              </a:ln>
              <a:effectLst>
                <a:outerShdw blurRad="127000" dist="127000" dir="7620000" rotWithShape="0">
                  <a:srgbClr val="000000">
                    <a:alpha val="4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8" name="Ovaal 47"/>
              <p:cNvSpPr/>
              <p:nvPr/>
            </p:nvSpPr>
            <p:spPr>
              <a:xfrm>
                <a:off x="6178551" y="2776522"/>
                <a:ext cx="2362199" cy="2362200"/>
              </a:xfrm>
              <a:prstGeom prst="ellipse">
                <a:avLst/>
              </a:prstGeom>
              <a:solidFill>
                <a:srgbClr val="D7B3CA"/>
              </a:solidFill>
              <a:ln>
                <a:noFill/>
              </a:ln>
              <a:effectLst>
                <a:outerShdw blurRad="127000" dist="127000" dir="7620000" rotWithShape="0">
                  <a:srgbClr val="000000">
                    <a:alpha val="40000"/>
                  </a:srgb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9" name="object 131"/>
              <p:cNvSpPr/>
              <p:nvPr/>
            </p:nvSpPr>
            <p:spPr>
              <a:xfrm>
                <a:off x="3034533" y="3867466"/>
                <a:ext cx="1017575" cy="315861"/>
              </a:xfrm>
              <a:custGeom>
                <a:avLst/>
                <a:gdLst/>
                <a:ahLst/>
                <a:cxnLst/>
                <a:rect l="l" t="t" r="r" b="b"/>
                <a:pathLst>
                  <a:path w="1017575" h="315861">
                    <a:moveTo>
                      <a:pt x="70069" y="0"/>
                    </a:moveTo>
                    <a:lnTo>
                      <a:pt x="28799" y="1175"/>
                    </a:lnTo>
                    <a:lnTo>
                      <a:pt x="757" y="31749"/>
                    </a:lnTo>
                    <a:lnTo>
                      <a:pt x="0" y="265445"/>
                    </a:lnTo>
                    <a:lnTo>
                      <a:pt x="24" y="269309"/>
                    </a:lnTo>
                    <a:lnTo>
                      <a:pt x="9284" y="307691"/>
                    </a:lnTo>
                    <a:lnTo>
                      <a:pt x="50293" y="315781"/>
                    </a:lnTo>
                    <a:lnTo>
                      <a:pt x="947462" y="315861"/>
                    </a:lnTo>
                    <a:lnTo>
                      <a:pt x="971103" y="315714"/>
                    </a:lnTo>
                    <a:lnTo>
                      <a:pt x="1009484" y="306454"/>
                    </a:lnTo>
                    <a:lnTo>
                      <a:pt x="1017575" y="265445"/>
                    </a:lnTo>
                    <a:lnTo>
                      <a:pt x="1017508" y="46551"/>
                    </a:lnTo>
                    <a:lnTo>
                      <a:pt x="1008247" y="8170"/>
                    </a:lnTo>
                    <a:lnTo>
                      <a:pt x="967238" y="79"/>
                    </a:lnTo>
                    <a:lnTo>
                      <a:pt x="7006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endParaRPr/>
              </a:p>
            </p:txBody>
          </p:sp>
          <p:sp>
            <p:nvSpPr>
              <p:cNvPr id="50" name="object 133"/>
              <p:cNvSpPr/>
              <p:nvPr/>
            </p:nvSpPr>
            <p:spPr>
              <a:xfrm>
                <a:off x="4806950" y="3643860"/>
                <a:ext cx="1069899" cy="763066"/>
              </a:xfrm>
              <a:custGeom>
                <a:avLst/>
                <a:gdLst/>
                <a:ahLst/>
                <a:cxnLst/>
                <a:rect l="l" t="t" r="r" b="b"/>
                <a:pathLst>
                  <a:path w="1069899" h="763066">
                    <a:moveTo>
                      <a:pt x="70069" y="0"/>
                    </a:moveTo>
                    <a:lnTo>
                      <a:pt x="28799" y="1175"/>
                    </a:lnTo>
                    <a:lnTo>
                      <a:pt x="757" y="31749"/>
                    </a:lnTo>
                    <a:lnTo>
                      <a:pt x="0" y="712650"/>
                    </a:lnTo>
                    <a:lnTo>
                      <a:pt x="24" y="716514"/>
                    </a:lnTo>
                    <a:lnTo>
                      <a:pt x="9284" y="754896"/>
                    </a:lnTo>
                    <a:lnTo>
                      <a:pt x="50293" y="762986"/>
                    </a:lnTo>
                    <a:lnTo>
                      <a:pt x="999786" y="763066"/>
                    </a:lnTo>
                    <a:lnTo>
                      <a:pt x="1023427" y="762919"/>
                    </a:lnTo>
                    <a:lnTo>
                      <a:pt x="1061808" y="753659"/>
                    </a:lnTo>
                    <a:lnTo>
                      <a:pt x="1069899" y="712650"/>
                    </a:lnTo>
                    <a:lnTo>
                      <a:pt x="1069832" y="46551"/>
                    </a:lnTo>
                    <a:lnTo>
                      <a:pt x="1060571" y="8170"/>
                    </a:lnTo>
                    <a:lnTo>
                      <a:pt x="1019562" y="79"/>
                    </a:lnTo>
                    <a:lnTo>
                      <a:pt x="7006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endParaRPr/>
              </a:p>
            </p:txBody>
          </p:sp>
          <p:sp>
            <p:nvSpPr>
              <p:cNvPr id="51" name="object 134"/>
              <p:cNvSpPr/>
              <p:nvPr/>
            </p:nvSpPr>
            <p:spPr>
              <a:xfrm>
                <a:off x="6790621" y="3866793"/>
                <a:ext cx="1259802" cy="317207"/>
              </a:xfrm>
              <a:custGeom>
                <a:avLst/>
                <a:gdLst/>
                <a:ahLst/>
                <a:cxnLst/>
                <a:rect l="l" t="t" r="r" b="b"/>
                <a:pathLst>
                  <a:path w="1259802" h="317207">
                    <a:moveTo>
                      <a:pt x="70069" y="0"/>
                    </a:moveTo>
                    <a:lnTo>
                      <a:pt x="28799" y="1175"/>
                    </a:lnTo>
                    <a:lnTo>
                      <a:pt x="757" y="31749"/>
                    </a:lnTo>
                    <a:lnTo>
                      <a:pt x="0" y="266791"/>
                    </a:lnTo>
                    <a:lnTo>
                      <a:pt x="24" y="270656"/>
                    </a:lnTo>
                    <a:lnTo>
                      <a:pt x="9284" y="309037"/>
                    </a:lnTo>
                    <a:lnTo>
                      <a:pt x="50293" y="317127"/>
                    </a:lnTo>
                    <a:lnTo>
                      <a:pt x="1189689" y="317207"/>
                    </a:lnTo>
                    <a:lnTo>
                      <a:pt x="1213330" y="317060"/>
                    </a:lnTo>
                    <a:lnTo>
                      <a:pt x="1251712" y="307800"/>
                    </a:lnTo>
                    <a:lnTo>
                      <a:pt x="1259802" y="266791"/>
                    </a:lnTo>
                    <a:lnTo>
                      <a:pt x="1259735" y="46551"/>
                    </a:lnTo>
                    <a:lnTo>
                      <a:pt x="1250474" y="8170"/>
                    </a:lnTo>
                    <a:lnTo>
                      <a:pt x="1209465" y="79"/>
                    </a:lnTo>
                    <a:lnTo>
                      <a:pt x="70069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endParaRPr/>
              </a:p>
            </p:txBody>
          </p:sp>
          <p:sp>
            <p:nvSpPr>
              <p:cNvPr id="52" name="object 135"/>
              <p:cNvSpPr/>
              <p:nvPr/>
            </p:nvSpPr>
            <p:spPr>
              <a:xfrm>
                <a:off x="800165" y="3866863"/>
                <a:ext cx="1514569" cy="314021"/>
              </a:xfrm>
              <a:custGeom>
                <a:avLst/>
                <a:gdLst/>
                <a:ahLst/>
                <a:cxnLst/>
                <a:rect l="l" t="t" r="r" b="b"/>
                <a:pathLst>
                  <a:path w="1514569" h="314021">
                    <a:moveTo>
                      <a:pt x="107933" y="0"/>
                    </a:moveTo>
                    <a:lnTo>
                      <a:pt x="62515" y="496"/>
                    </a:lnTo>
                    <a:lnTo>
                      <a:pt x="21471" y="7761"/>
                    </a:lnTo>
                    <a:lnTo>
                      <a:pt x="1654" y="45262"/>
                    </a:lnTo>
                    <a:lnTo>
                      <a:pt x="0" y="82639"/>
                    </a:lnTo>
                    <a:lnTo>
                      <a:pt x="7" y="231438"/>
                    </a:lnTo>
                    <a:lnTo>
                      <a:pt x="3907" y="281984"/>
                    </a:lnTo>
                    <a:lnTo>
                      <a:pt x="31727" y="310032"/>
                    </a:lnTo>
                    <a:lnTo>
                      <a:pt x="82587" y="314016"/>
                    </a:lnTo>
                    <a:lnTo>
                      <a:pt x="1431399" y="314021"/>
                    </a:lnTo>
                    <a:lnTo>
                      <a:pt x="1452055" y="313586"/>
                    </a:lnTo>
                    <a:lnTo>
                      <a:pt x="1493100" y="306322"/>
                    </a:lnTo>
                    <a:lnTo>
                      <a:pt x="1512916" y="268818"/>
                    </a:lnTo>
                    <a:lnTo>
                      <a:pt x="1514569" y="231438"/>
                    </a:lnTo>
                    <a:lnTo>
                      <a:pt x="1514561" y="82639"/>
                    </a:lnTo>
                    <a:lnTo>
                      <a:pt x="1510662" y="32106"/>
                    </a:lnTo>
                    <a:lnTo>
                      <a:pt x="1482847" y="4053"/>
                    </a:lnTo>
                    <a:lnTo>
                      <a:pt x="1431996" y="67"/>
                    </a:lnTo>
                    <a:lnTo>
                      <a:pt x="10793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endParaRPr/>
              </a:p>
            </p:txBody>
          </p:sp>
          <p:sp>
            <p:nvSpPr>
              <p:cNvPr id="53" name="object 136"/>
              <p:cNvSpPr txBox="1"/>
              <p:nvPr/>
            </p:nvSpPr>
            <p:spPr>
              <a:xfrm>
                <a:off x="3054350" y="3916395"/>
                <a:ext cx="990599" cy="21533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</a:pPr>
                <a:r>
                  <a:rPr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GEBIED </a:t>
                </a:r>
                <a:endParaRPr sz="1200" spc="100" dirty="0">
                  <a:latin typeface="Arial"/>
                  <a:cs typeface="Arial"/>
                </a:endParaRPr>
              </a:p>
            </p:txBody>
          </p:sp>
          <p:sp>
            <p:nvSpPr>
              <p:cNvPr id="54" name="object 138"/>
              <p:cNvSpPr txBox="1"/>
              <p:nvPr/>
            </p:nvSpPr>
            <p:spPr>
              <a:xfrm>
                <a:off x="4814829" y="3705759"/>
                <a:ext cx="1066799" cy="67741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</a:pPr>
                <a:r>
                  <a:rPr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PROJECT </a:t>
                </a:r>
                <a:endParaRPr sz="1200" spc="100" dirty="0">
                  <a:latin typeface="Arial"/>
                  <a:cs typeface="Arial"/>
                </a:endParaRPr>
              </a:p>
              <a:p>
                <a:pPr algn="ctr">
                  <a:lnSpc>
                    <a:spcPct val="100000"/>
                  </a:lnSpc>
                  <a:spcBef>
                    <a:spcPts val="215"/>
                  </a:spcBef>
                </a:pPr>
                <a:r>
                  <a:rPr sz="1000" spc="100" dirty="0">
                    <a:solidFill>
                      <a:srgbClr val="231F20"/>
                    </a:solidFill>
                    <a:latin typeface="Arial"/>
                    <a:cs typeface="Arial"/>
                  </a:rPr>
                  <a:t>OF </a:t>
                </a:r>
                <a:endParaRPr sz="1000" spc="100" dirty="0">
                  <a:latin typeface="Arial"/>
                  <a:cs typeface="Arial"/>
                </a:endParaRPr>
              </a:p>
              <a:p>
                <a:pPr algn="ctr">
                  <a:lnSpc>
                    <a:spcPct val="100000"/>
                  </a:lnSpc>
                  <a:spcBef>
                    <a:spcPts val="235"/>
                  </a:spcBef>
                </a:pPr>
                <a:r>
                  <a:rPr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KAVEL</a:t>
                </a:r>
                <a:r>
                  <a:rPr lang="nl-NL"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S</a:t>
                </a:r>
                <a:r>
                  <a:rPr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 </a:t>
                </a:r>
                <a:endParaRPr sz="1200" spc="100" dirty="0">
                  <a:latin typeface="Arial"/>
                  <a:cs typeface="Arial"/>
                </a:endParaRPr>
              </a:p>
            </p:txBody>
          </p:sp>
          <p:sp>
            <p:nvSpPr>
              <p:cNvPr id="55" name="object 139"/>
              <p:cNvSpPr txBox="1"/>
              <p:nvPr/>
            </p:nvSpPr>
            <p:spPr>
              <a:xfrm>
                <a:off x="6714099" y="3910545"/>
                <a:ext cx="1430433" cy="21533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</a:pPr>
                <a:r>
                  <a:rPr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REALISATIE</a:t>
                </a:r>
                <a:endParaRPr sz="1200" spc="100" dirty="0">
                  <a:latin typeface="Arial"/>
                  <a:cs typeface="Arial"/>
                </a:endParaRPr>
              </a:p>
            </p:txBody>
          </p:sp>
          <p:sp>
            <p:nvSpPr>
              <p:cNvPr id="56" name="object 140"/>
              <p:cNvSpPr txBox="1"/>
              <p:nvPr/>
            </p:nvSpPr>
            <p:spPr>
              <a:xfrm>
                <a:off x="688833" y="3905905"/>
                <a:ext cx="1717890" cy="218892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</a:pPr>
                <a:r>
                  <a:rPr sz="1200" spc="100" dirty="0" smtClean="0">
                    <a:solidFill>
                      <a:srgbClr val="231F20"/>
                    </a:solidFill>
                    <a:latin typeface="Arial"/>
                    <a:cs typeface="Arial"/>
                  </a:rPr>
                  <a:t>STAD </a:t>
                </a:r>
                <a:r>
                  <a:rPr sz="1200" spc="100" dirty="0">
                    <a:solidFill>
                      <a:srgbClr val="231F20"/>
                    </a:solidFill>
                    <a:latin typeface="Arial"/>
                    <a:cs typeface="Arial"/>
                  </a:rPr>
                  <a:t>&amp; REGIO </a:t>
                </a:r>
                <a:endParaRPr sz="1200" spc="100" dirty="0">
                  <a:latin typeface="Arial"/>
                  <a:cs typeface="Arial"/>
                </a:endParaRPr>
              </a:p>
            </p:txBody>
          </p:sp>
        </p:grpSp>
      </p:grpSp>
      <p:pic>
        <p:nvPicPr>
          <p:cNvPr id="25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87216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270759" y="6473669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</p:spTree>
    <p:extLst>
      <p:ext uri="{BB962C8B-B14F-4D97-AF65-F5344CB8AC3E}">
        <p14:creationId xmlns:p14="http://schemas.microsoft.com/office/powerpoint/2010/main" val="2842300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5</a:t>
            </a:fld>
            <a:endParaRPr lang="nl-NL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>
                <a:cs typeface="Arial"/>
              </a:rPr>
              <a:t>proces gebiedsontwikkeling</a:t>
            </a:r>
            <a:endParaRPr lang="nl-NL" dirty="0">
              <a:cs typeface="Arial"/>
            </a:endParaRPr>
          </a:p>
        </p:txBody>
      </p:sp>
      <p:grpSp>
        <p:nvGrpSpPr>
          <p:cNvPr id="22" name="Groeperen 21"/>
          <p:cNvGrpSpPr/>
          <p:nvPr/>
        </p:nvGrpSpPr>
        <p:grpSpPr>
          <a:xfrm>
            <a:off x="1141135" y="1163476"/>
            <a:ext cx="3658155" cy="2248590"/>
            <a:chOff x="1184484" y="1306534"/>
            <a:chExt cx="4322593" cy="2657006"/>
          </a:xfrm>
        </p:grpSpPr>
        <p:sp>
          <p:nvSpPr>
            <p:cNvPr id="10" name="Ovaal 9"/>
            <p:cNvSpPr/>
            <p:nvPr/>
          </p:nvSpPr>
          <p:spPr>
            <a:xfrm>
              <a:off x="1184484" y="1306534"/>
              <a:ext cx="4322593" cy="2657006"/>
            </a:xfrm>
            <a:prstGeom prst="ellipse">
              <a:avLst/>
            </a:prstGeom>
            <a:solidFill>
              <a:srgbClr val="F6C89C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Ovaal 10"/>
            <p:cNvSpPr/>
            <p:nvPr/>
          </p:nvSpPr>
          <p:spPr>
            <a:xfrm>
              <a:off x="2254840" y="1610192"/>
              <a:ext cx="3252237" cy="2049691"/>
            </a:xfrm>
            <a:prstGeom prst="ellipse">
              <a:avLst/>
            </a:prstGeom>
            <a:solidFill>
              <a:srgbClr val="E4EDAF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Ovaal 11"/>
            <p:cNvSpPr/>
            <p:nvPr/>
          </p:nvSpPr>
          <p:spPr>
            <a:xfrm>
              <a:off x="3201695" y="1869647"/>
              <a:ext cx="2305382" cy="1530781"/>
            </a:xfrm>
            <a:prstGeom prst="ellipse">
              <a:avLst/>
            </a:prstGeom>
            <a:solidFill>
              <a:srgbClr val="97D2E7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Ovaal 12"/>
            <p:cNvSpPr/>
            <p:nvPr/>
          </p:nvSpPr>
          <p:spPr>
            <a:xfrm>
              <a:off x="4230883" y="1996940"/>
              <a:ext cx="1276194" cy="1276194"/>
            </a:xfrm>
            <a:prstGeom prst="ellipse">
              <a:avLst/>
            </a:prstGeom>
            <a:solidFill>
              <a:srgbClr val="D7B3CA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grpSp>
        <p:nvGrpSpPr>
          <p:cNvPr id="23" name="Groeperen 22"/>
          <p:cNvGrpSpPr/>
          <p:nvPr/>
        </p:nvGrpSpPr>
        <p:grpSpPr>
          <a:xfrm>
            <a:off x="1141135" y="3771210"/>
            <a:ext cx="3658155" cy="2248590"/>
            <a:chOff x="1184484" y="1306534"/>
            <a:chExt cx="4322593" cy="2657006"/>
          </a:xfrm>
        </p:grpSpPr>
        <p:sp>
          <p:nvSpPr>
            <p:cNvPr id="24" name="Ovaal 23"/>
            <p:cNvSpPr/>
            <p:nvPr/>
          </p:nvSpPr>
          <p:spPr>
            <a:xfrm>
              <a:off x="1184484" y="1306534"/>
              <a:ext cx="4322593" cy="2657006"/>
            </a:xfrm>
            <a:prstGeom prst="ellipse">
              <a:avLst/>
            </a:prstGeom>
            <a:solidFill>
              <a:srgbClr val="F6C89C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5" name="Ovaal 24"/>
            <p:cNvSpPr/>
            <p:nvPr/>
          </p:nvSpPr>
          <p:spPr>
            <a:xfrm>
              <a:off x="2254840" y="1610192"/>
              <a:ext cx="3252237" cy="2049691"/>
            </a:xfrm>
            <a:prstGeom prst="ellipse">
              <a:avLst/>
            </a:prstGeom>
            <a:solidFill>
              <a:srgbClr val="E4EDAF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6" name="Ovaal 25"/>
            <p:cNvSpPr/>
            <p:nvPr/>
          </p:nvSpPr>
          <p:spPr>
            <a:xfrm>
              <a:off x="3201695" y="1869647"/>
              <a:ext cx="2305382" cy="1530781"/>
            </a:xfrm>
            <a:prstGeom prst="ellipse">
              <a:avLst/>
            </a:prstGeom>
            <a:solidFill>
              <a:srgbClr val="97D2E7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27" name="Ovaal 26"/>
            <p:cNvSpPr/>
            <p:nvPr/>
          </p:nvSpPr>
          <p:spPr>
            <a:xfrm>
              <a:off x="4230883" y="1996940"/>
              <a:ext cx="1276194" cy="1276194"/>
            </a:xfrm>
            <a:prstGeom prst="ellipse">
              <a:avLst/>
            </a:prstGeom>
            <a:solidFill>
              <a:srgbClr val="D7B3CA"/>
            </a:solidFill>
            <a:ln>
              <a:noFill/>
            </a:ln>
            <a:effectLst>
              <a:outerShdw blurRad="127000" dist="127000" dir="7620000" rotWithShape="0">
                <a:srgbClr val="000000">
                  <a:alpha val="4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</p:grpSp>
      <p:pic>
        <p:nvPicPr>
          <p:cNvPr id="28" name="Afbeelding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6153" y="1471423"/>
            <a:ext cx="2998787" cy="161891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31" name="object 25"/>
          <p:cNvSpPr txBox="1"/>
          <p:nvPr/>
        </p:nvSpPr>
        <p:spPr>
          <a:xfrm>
            <a:off x="5266714" y="3383546"/>
            <a:ext cx="316940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nl-NL" sz="1400" spc="100" dirty="0">
                <a:cs typeface="Arial"/>
              </a:rPr>
              <a:t>Geen lineair, geordend proces</a:t>
            </a:r>
          </a:p>
        </p:txBody>
      </p:sp>
      <p:pic>
        <p:nvPicPr>
          <p:cNvPr id="32" name="Afbeelding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3864" y="4318000"/>
            <a:ext cx="3395137" cy="1092200"/>
          </a:xfrm>
          <a:prstGeom prst="rect">
            <a:avLst/>
          </a:prstGeom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7" name="Picture 10" descr="tu-skg-fc_k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5872163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hoek 1"/>
          <p:cNvSpPr/>
          <p:nvPr/>
        </p:nvSpPr>
        <p:spPr>
          <a:xfrm>
            <a:off x="166532" y="6442948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</p:spTree>
    <p:extLst>
      <p:ext uri="{BB962C8B-B14F-4D97-AF65-F5344CB8AC3E}">
        <p14:creationId xmlns:p14="http://schemas.microsoft.com/office/powerpoint/2010/main" val="4170251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Afbeelding 32" descr="Ondergrond2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00" y="1193799"/>
            <a:ext cx="8888432" cy="495183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6712" y="207963"/>
            <a:ext cx="8542338" cy="461665"/>
          </a:xfrm>
        </p:spPr>
        <p:txBody>
          <a:bodyPr/>
          <a:lstStyle/>
          <a:p>
            <a:pPr marL="12700">
              <a:lnSpc>
                <a:spcPct val="100000"/>
              </a:lnSpc>
            </a:pPr>
            <a:r>
              <a:rPr lang="nl-NL" spc="90" dirty="0">
                <a:cs typeface="Arial"/>
              </a:rPr>
              <a:t>proces gebiedsontwikkeling</a:t>
            </a:r>
            <a:endParaRPr lang="nl-NL" dirty="0"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98741" y="6609348"/>
            <a:ext cx="78547" cy="169277"/>
          </a:xfrm>
        </p:spPr>
        <p:txBody>
          <a:bodyPr/>
          <a:lstStyle/>
          <a:p>
            <a:fld id="{8DA1EC87-F007-413E-9577-D1D88117C3DE}" type="slidenum">
              <a:rPr lang="nl-NL" smtClean="0"/>
              <a:pPr/>
              <a:t>6</a:t>
            </a:fld>
            <a:endParaRPr lang="nl-NL"/>
          </a:p>
        </p:txBody>
      </p:sp>
      <p:sp>
        <p:nvSpPr>
          <p:cNvPr id="24" name="Tekstvak 23"/>
          <p:cNvSpPr txBox="1"/>
          <p:nvPr/>
        </p:nvSpPr>
        <p:spPr>
          <a:xfrm>
            <a:off x="3904233" y="528419"/>
            <a:ext cx="5004817" cy="338554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endParaRPr lang="nl-NL" sz="1600" b="1" i="1" spc="90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sp>
        <p:nvSpPr>
          <p:cNvPr id="42" name="object 132"/>
          <p:cNvSpPr/>
          <p:nvPr/>
        </p:nvSpPr>
        <p:spPr>
          <a:xfrm>
            <a:off x="6864073" y="3553413"/>
            <a:ext cx="1206114" cy="270869"/>
          </a:xfrm>
          <a:custGeom>
            <a:avLst/>
            <a:gdLst/>
            <a:ahLst/>
            <a:cxnLst/>
            <a:rect l="l" t="t" r="r" b="b"/>
            <a:pathLst>
              <a:path w="1406441" h="315858">
                <a:moveTo>
                  <a:pt x="78672" y="0"/>
                </a:moveTo>
                <a:lnTo>
                  <a:pt x="34410" y="981"/>
                </a:lnTo>
                <a:lnTo>
                  <a:pt x="1673" y="26495"/>
                </a:lnTo>
                <a:lnTo>
                  <a:pt x="0" y="62804"/>
                </a:lnTo>
                <a:lnTo>
                  <a:pt x="41" y="253057"/>
                </a:lnTo>
                <a:lnTo>
                  <a:pt x="3708" y="297577"/>
                </a:lnTo>
                <a:lnTo>
                  <a:pt x="47155" y="315590"/>
                </a:lnTo>
                <a:lnTo>
                  <a:pt x="70391" y="315858"/>
                </a:lnTo>
                <a:lnTo>
                  <a:pt x="1352911" y="315739"/>
                </a:lnTo>
                <a:lnTo>
                  <a:pt x="1395497" y="308011"/>
                </a:lnTo>
                <a:lnTo>
                  <a:pt x="1406441" y="253057"/>
                </a:lnTo>
                <a:lnTo>
                  <a:pt x="1406399" y="62804"/>
                </a:lnTo>
                <a:lnTo>
                  <a:pt x="1402732" y="18284"/>
                </a:lnTo>
                <a:lnTo>
                  <a:pt x="1359285" y="270"/>
                </a:lnTo>
                <a:lnTo>
                  <a:pt x="786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43" name="object 137"/>
          <p:cNvSpPr txBox="1"/>
          <p:nvPr/>
        </p:nvSpPr>
        <p:spPr>
          <a:xfrm>
            <a:off x="6851784" y="3590357"/>
            <a:ext cx="124158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OPLEVERING </a:t>
            </a:r>
            <a:endParaRPr sz="1200" spc="100" dirty="0">
              <a:latin typeface="Arial"/>
              <a:cs typeface="Arial"/>
            </a:endParaRPr>
          </a:p>
        </p:txBody>
      </p:sp>
      <p:sp>
        <p:nvSpPr>
          <p:cNvPr id="49" name="object 131"/>
          <p:cNvSpPr/>
          <p:nvPr/>
        </p:nvSpPr>
        <p:spPr>
          <a:xfrm>
            <a:off x="2693819" y="3555455"/>
            <a:ext cx="872636" cy="270871"/>
          </a:xfrm>
          <a:custGeom>
            <a:avLst/>
            <a:gdLst/>
            <a:ahLst/>
            <a:cxnLst/>
            <a:rect l="l" t="t" r="r" b="b"/>
            <a:pathLst>
              <a:path w="1017575" h="315861">
                <a:moveTo>
                  <a:pt x="70069" y="0"/>
                </a:moveTo>
                <a:lnTo>
                  <a:pt x="28799" y="1175"/>
                </a:lnTo>
                <a:lnTo>
                  <a:pt x="757" y="31749"/>
                </a:lnTo>
                <a:lnTo>
                  <a:pt x="0" y="265445"/>
                </a:lnTo>
                <a:lnTo>
                  <a:pt x="24" y="269309"/>
                </a:lnTo>
                <a:lnTo>
                  <a:pt x="9284" y="307691"/>
                </a:lnTo>
                <a:lnTo>
                  <a:pt x="50293" y="315781"/>
                </a:lnTo>
                <a:lnTo>
                  <a:pt x="947462" y="315861"/>
                </a:lnTo>
                <a:lnTo>
                  <a:pt x="971103" y="315714"/>
                </a:lnTo>
                <a:lnTo>
                  <a:pt x="1009484" y="306454"/>
                </a:lnTo>
                <a:lnTo>
                  <a:pt x="1017575" y="265445"/>
                </a:lnTo>
                <a:lnTo>
                  <a:pt x="1017508" y="46551"/>
                </a:lnTo>
                <a:lnTo>
                  <a:pt x="1008247" y="8170"/>
                </a:lnTo>
                <a:lnTo>
                  <a:pt x="967238" y="79"/>
                </a:lnTo>
                <a:lnTo>
                  <a:pt x="7006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0" name="object 133"/>
          <p:cNvSpPr/>
          <p:nvPr/>
        </p:nvSpPr>
        <p:spPr>
          <a:xfrm>
            <a:off x="4073416" y="3363698"/>
            <a:ext cx="917507" cy="654378"/>
          </a:xfrm>
          <a:custGeom>
            <a:avLst/>
            <a:gdLst/>
            <a:ahLst/>
            <a:cxnLst/>
            <a:rect l="l" t="t" r="r" b="b"/>
            <a:pathLst>
              <a:path w="1069899" h="763066">
                <a:moveTo>
                  <a:pt x="70069" y="0"/>
                </a:moveTo>
                <a:lnTo>
                  <a:pt x="28799" y="1175"/>
                </a:lnTo>
                <a:lnTo>
                  <a:pt x="757" y="31749"/>
                </a:lnTo>
                <a:lnTo>
                  <a:pt x="0" y="712650"/>
                </a:lnTo>
                <a:lnTo>
                  <a:pt x="24" y="716514"/>
                </a:lnTo>
                <a:lnTo>
                  <a:pt x="9284" y="754896"/>
                </a:lnTo>
                <a:lnTo>
                  <a:pt x="50293" y="762986"/>
                </a:lnTo>
                <a:lnTo>
                  <a:pt x="999786" y="763066"/>
                </a:lnTo>
                <a:lnTo>
                  <a:pt x="1023427" y="762919"/>
                </a:lnTo>
                <a:lnTo>
                  <a:pt x="1061808" y="753659"/>
                </a:lnTo>
                <a:lnTo>
                  <a:pt x="1069899" y="712650"/>
                </a:lnTo>
                <a:lnTo>
                  <a:pt x="1069832" y="46551"/>
                </a:lnTo>
                <a:lnTo>
                  <a:pt x="1060571" y="8170"/>
                </a:lnTo>
                <a:lnTo>
                  <a:pt x="1019562" y="79"/>
                </a:lnTo>
                <a:lnTo>
                  <a:pt x="7006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1" name="object 134"/>
          <p:cNvSpPr/>
          <p:nvPr/>
        </p:nvSpPr>
        <p:spPr>
          <a:xfrm>
            <a:off x="5373489" y="3554878"/>
            <a:ext cx="1080361" cy="272025"/>
          </a:xfrm>
          <a:custGeom>
            <a:avLst/>
            <a:gdLst/>
            <a:ahLst/>
            <a:cxnLst/>
            <a:rect l="l" t="t" r="r" b="b"/>
            <a:pathLst>
              <a:path w="1259802" h="317207">
                <a:moveTo>
                  <a:pt x="70069" y="0"/>
                </a:moveTo>
                <a:lnTo>
                  <a:pt x="28799" y="1175"/>
                </a:lnTo>
                <a:lnTo>
                  <a:pt x="757" y="31749"/>
                </a:lnTo>
                <a:lnTo>
                  <a:pt x="0" y="266791"/>
                </a:lnTo>
                <a:lnTo>
                  <a:pt x="24" y="270656"/>
                </a:lnTo>
                <a:lnTo>
                  <a:pt x="9284" y="309037"/>
                </a:lnTo>
                <a:lnTo>
                  <a:pt x="50293" y="317127"/>
                </a:lnTo>
                <a:lnTo>
                  <a:pt x="1189689" y="317207"/>
                </a:lnTo>
                <a:lnTo>
                  <a:pt x="1213330" y="317060"/>
                </a:lnTo>
                <a:lnTo>
                  <a:pt x="1251712" y="307800"/>
                </a:lnTo>
                <a:lnTo>
                  <a:pt x="1259802" y="266791"/>
                </a:lnTo>
                <a:lnTo>
                  <a:pt x="1259735" y="46551"/>
                </a:lnTo>
                <a:lnTo>
                  <a:pt x="1250474" y="8170"/>
                </a:lnTo>
                <a:lnTo>
                  <a:pt x="1209465" y="79"/>
                </a:lnTo>
                <a:lnTo>
                  <a:pt x="7006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2" name="object 135"/>
          <p:cNvSpPr/>
          <p:nvPr/>
        </p:nvSpPr>
        <p:spPr>
          <a:xfrm>
            <a:off x="931437" y="3554938"/>
            <a:ext cx="1298840" cy="269293"/>
          </a:xfrm>
          <a:custGeom>
            <a:avLst/>
            <a:gdLst/>
            <a:ahLst/>
            <a:cxnLst/>
            <a:rect l="l" t="t" r="r" b="b"/>
            <a:pathLst>
              <a:path w="1514569" h="314021">
                <a:moveTo>
                  <a:pt x="107933" y="0"/>
                </a:moveTo>
                <a:lnTo>
                  <a:pt x="62515" y="496"/>
                </a:lnTo>
                <a:lnTo>
                  <a:pt x="21471" y="7761"/>
                </a:lnTo>
                <a:lnTo>
                  <a:pt x="1654" y="45262"/>
                </a:lnTo>
                <a:lnTo>
                  <a:pt x="0" y="82639"/>
                </a:lnTo>
                <a:lnTo>
                  <a:pt x="7" y="231438"/>
                </a:lnTo>
                <a:lnTo>
                  <a:pt x="3907" y="281984"/>
                </a:lnTo>
                <a:lnTo>
                  <a:pt x="31727" y="310032"/>
                </a:lnTo>
                <a:lnTo>
                  <a:pt x="82587" y="314016"/>
                </a:lnTo>
                <a:lnTo>
                  <a:pt x="1431399" y="314021"/>
                </a:lnTo>
                <a:lnTo>
                  <a:pt x="1452055" y="313586"/>
                </a:lnTo>
                <a:lnTo>
                  <a:pt x="1493100" y="306322"/>
                </a:lnTo>
                <a:lnTo>
                  <a:pt x="1512916" y="268818"/>
                </a:lnTo>
                <a:lnTo>
                  <a:pt x="1514569" y="231438"/>
                </a:lnTo>
                <a:lnTo>
                  <a:pt x="1514561" y="82639"/>
                </a:lnTo>
                <a:lnTo>
                  <a:pt x="1510662" y="32106"/>
                </a:lnTo>
                <a:lnTo>
                  <a:pt x="1482847" y="4053"/>
                </a:lnTo>
                <a:lnTo>
                  <a:pt x="1431996" y="67"/>
                </a:lnTo>
                <a:lnTo>
                  <a:pt x="1079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spAutoFit/>
          </a:bodyPr>
          <a:lstStyle/>
          <a:p>
            <a:endParaRPr/>
          </a:p>
        </p:txBody>
      </p:sp>
      <p:sp>
        <p:nvSpPr>
          <p:cNvPr id="53" name="object 136"/>
          <p:cNvSpPr txBox="1"/>
          <p:nvPr/>
        </p:nvSpPr>
        <p:spPr>
          <a:xfrm>
            <a:off x="2710813" y="3597415"/>
            <a:ext cx="84950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GEBIED </a:t>
            </a:r>
            <a:endParaRPr sz="1200" spc="100" dirty="0">
              <a:latin typeface="Arial"/>
              <a:cs typeface="Arial"/>
            </a:endParaRPr>
          </a:p>
        </p:txBody>
      </p:sp>
      <p:sp>
        <p:nvSpPr>
          <p:cNvPr id="54" name="object 138"/>
          <p:cNvSpPr txBox="1"/>
          <p:nvPr/>
        </p:nvSpPr>
        <p:spPr>
          <a:xfrm>
            <a:off x="4080173" y="3416781"/>
            <a:ext cx="914849" cy="5809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PROJECT </a:t>
            </a:r>
            <a:endParaRPr sz="1200" spc="1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15"/>
              </a:spcBef>
            </a:pPr>
            <a:r>
              <a:rPr sz="1000" spc="100" dirty="0">
                <a:solidFill>
                  <a:srgbClr val="231F20"/>
                </a:solidFill>
                <a:latin typeface="Arial"/>
                <a:cs typeface="Arial"/>
              </a:rPr>
              <a:t>OF </a:t>
            </a:r>
            <a:endParaRPr sz="1000" spc="100" dirty="0"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235"/>
              </a:spcBef>
            </a:pP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KAVEL</a:t>
            </a:r>
            <a:r>
              <a:rPr lang="nl-NL" sz="1200" spc="100" dirty="0" smtClean="0">
                <a:solidFill>
                  <a:srgbClr val="231F20"/>
                </a:solidFill>
                <a:latin typeface="Arial"/>
                <a:cs typeface="Arial"/>
              </a:rPr>
              <a:t>S</a:t>
            </a: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endParaRPr sz="1200" spc="100" dirty="0">
              <a:latin typeface="Arial"/>
              <a:cs typeface="Arial"/>
            </a:endParaRPr>
          </a:p>
        </p:txBody>
      </p:sp>
      <p:sp>
        <p:nvSpPr>
          <p:cNvPr id="55" name="object 139"/>
          <p:cNvSpPr txBox="1"/>
          <p:nvPr/>
        </p:nvSpPr>
        <p:spPr>
          <a:xfrm>
            <a:off x="5371370" y="3592398"/>
            <a:ext cx="111088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REALISATIE</a:t>
            </a:r>
            <a:endParaRPr sz="1200" spc="100" dirty="0">
              <a:latin typeface="Arial"/>
              <a:cs typeface="Arial"/>
            </a:endParaRPr>
          </a:p>
        </p:txBody>
      </p:sp>
      <p:sp>
        <p:nvSpPr>
          <p:cNvPr id="56" name="object 140"/>
          <p:cNvSpPr txBox="1"/>
          <p:nvPr/>
        </p:nvSpPr>
        <p:spPr>
          <a:xfrm>
            <a:off x="904153" y="3588420"/>
            <a:ext cx="130692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sz="1200" spc="100" dirty="0" smtClean="0">
                <a:solidFill>
                  <a:srgbClr val="231F20"/>
                </a:solidFill>
                <a:latin typeface="Arial"/>
                <a:cs typeface="Arial"/>
              </a:rPr>
              <a:t>STAD </a:t>
            </a:r>
            <a:r>
              <a:rPr sz="1200" spc="100" dirty="0">
                <a:solidFill>
                  <a:srgbClr val="231F20"/>
                </a:solidFill>
                <a:latin typeface="Arial"/>
                <a:cs typeface="Arial"/>
              </a:rPr>
              <a:t>&amp; REGIO </a:t>
            </a:r>
            <a:endParaRPr sz="1200" spc="100" dirty="0">
              <a:latin typeface="Arial"/>
              <a:cs typeface="Arial"/>
            </a:endParaRPr>
          </a:p>
        </p:txBody>
      </p:sp>
      <p:sp>
        <p:nvSpPr>
          <p:cNvPr id="34" name="object 154"/>
          <p:cNvSpPr txBox="1"/>
          <p:nvPr/>
        </p:nvSpPr>
        <p:spPr>
          <a:xfrm>
            <a:off x="6383420" y="1299409"/>
            <a:ext cx="2525629" cy="8696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92405" marR="116205" indent="-180340">
              <a:lnSpc>
                <a:spcPct val="116700"/>
              </a:lnSpc>
              <a:buClr>
                <a:srgbClr val="231F20"/>
              </a:buClr>
              <a:buFont typeface="TheSerifSemiBold-Plain"/>
              <a:buChar char="•"/>
              <a:tabLst>
                <a:tab pos="192405" algn="l"/>
              </a:tabLst>
            </a:pPr>
            <a:r>
              <a:rPr sz="1200" spc="-85" dirty="0">
                <a:solidFill>
                  <a:srgbClr val="231F20"/>
                </a:solidFill>
                <a:latin typeface="Arial"/>
                <a:cs typeface="Arial"/>
              </a:rPr>
              <a:t>V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oo</a:t>
            </a:r>
            <a:r>
              <a:rPr sz="1200" spc="35" dirty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t</a:t>
            </a:r>
            <a:r>
              <a:rPr sz="1200" spc="-20" dirty="0">
                <a:solidFill>
                  <a:srgbClr val="231F20"/>
                </a:solidFill>
                <a:latin typeface="Arial"/>
                <a:cs typeface="Arial"/>
              </a:rPr>
              <a:t>d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urend</a:t>
            </a:r>
            <a:r>
              <a:rPr sz="1200" dirty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sz="1200" spc="6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i</a:t>
            </a:r>
            <a:r>
              <a:rPr sz="1200" spc="10" dirty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te</a:t>
            </a:r>
            <a:r>
              <a:rPr sz="1200" spc="5" dirty="0">
                <a:solidFill>
                  <a:srgbClr val="231F20"/>
                </a:solidFill>
                <a:latin typeface="Arial"/>
                <a:cs typeface="Arial"/>
              </a:rPr>
              <a:t>r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acti</a:t>
            </a:r>
            <a:r>
              <a:rPr sz="1200" dirty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sz="1200" spc="6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met d</a:t>
            </a:r>
            <a:r>
              <a:rPr sz="1200" dirty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sz="1200" spc="6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omg</a:t>
            </a:r>
            <a:r>
              <a:rPr sz="1200" spc="-5" dirty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ving</a:t>
            </a:r>
            <a:r>
              <a:rPr lang="nl-NL" sz="1200" spc="30" dirty="0">
                <a:solidFill>
                  <a:srgbClr val="231F20"/>
                </a:solidFill>
                <a:latin typeface="Arial"/>
                <a:cs typeface="Arial"/>
              </a:rPr>
              <a:t> en onverwachte gebeurtenissen</a:t>
            </a:r>
            <a:endParaRPr sz="1200" dirty="0">
              <a:latin typeface="Arial"/>
              <a:cs typeface="Arial"/>
            </a:endParaRPr>
          </a:p>
          <a:p>
            <a:pPr marL="192405" indent="-180340">
              <a:lnSpc>
                <a:spcPct val="100000"/>
              </a:lnSpc>
              <a:spcBef>
                <a:spcPts val="300"/>
              </a:spcBef>
              <a:buClr>
                <a:srgbClr val="231F20"/>
              </a:buClr>
              <a:buFont typeface="TheSerifSemiBold-Plain"/>
              <a:buChar char="•"/>
              <a:tabLst>
                <a:tab pos="192405" algn="l"/>
              </a:tabLst>
            </a:pP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Me</a:t>
            </a:r>
            <a:r>
              <a:rPr sz="1200" dirty="0">
                <a:solidFill>
                  <a:srgbClr val="231F20"/>
                </a:solidFill>
                <a:latin typeface="Arial"/>
                <a:cs typeface="Arial"/>
              </a:rPr>
              <a:t>t</a:t>
            </a:r>
            <a:r>
              <a:rPr sz="1200" spc="6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kanse</a:t>
            </a:r>
            <a:r>
              <a:rPr sz="1200" dirty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sz="1200" spc="6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e</a:t>
            </a:r>
            <a:r>
              <a:rPr sz="1200" dirty="0">
                <a:solidFill>
                  <a:srgbClr val="231F20"/>
                </a:solidFill>
                <a:latin typeface="Arial"/>
                <a:cs typeface="Arial"/>
              </a:rPr>
              <a:t>n</a:t>
            </a:r>
            <a:r>
              <a:rPr sz="1200" spc="60" dirty="0">
                <a:solidFill>
                  <a:srgbClr val="231F20"/>
                </a:solidFill>
                <a:latin typeface="Arial"/>
                <a:cs typeface="Arial"/>
              </a:rPr>
              <a:t> </a:t>
            </a:r>
            <a:r>
              <a:rPr sz="1200" spc="30" dirty="0">
                <a:solidFill>
                  <a:srgbClr val="231F20"/>
                </a:solidFill>
                <a:latin typeface="Arial"/>
                <a:cs typeface="Arial"/>
              </a:rPr>
              <a:t>bedreigingen</a:t>
            </a:r>
            <a:endParaRPr sz="1200" dirty="0">
              <a:latin typeface="Arial"/>
              <a:cs typeface="Arial"/>
            </a:endParaRPr>
          </a:p>
        </p:txBody>
      </p:sp>
      <p:pic>
        <p:nvPicPr>
          <p:cNvPr id="17" name="Picture 10" descr="tu-skg-fc_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187" y="5738435"/>
            <a:ext cx="727075" cy="81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hthoek 2"/>
          <p:cNvSpPr/>
          <p:nvPr/>
        </p:nvSpPr>
        <p:spPr>
          <a:xfrm>
            <a:off x="163809" y="6498961"/>
            <a:ext cx="271901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 err="1"/>
              <a:t>Praktijkleerstoel</a:t>
            </a:r>
            <a:r>
              <a:rPr lang="en-US" sz="1100" b="1" dirty="0"/>
              <a:t> </a:t>
            </a:r>
            <a:r>
              <a:rPr lang="en-US" sz="1100" b="1" dirty="0" err="1"/>
              <a:t>Gebiedsontwikkeling</a:t>
            </a:r>
            <a:endParaRPr lang="nl-NL" sz="1100" b="1" dirty="0"/>
          </a:p>
        </p:txBody>
      </p:sp>
    </p:spTree>
    <p:extLst>
      <p:ext uri="{BB962C8B-B14F-4D97-AF65-F5344CB8AC3E}">
        <p14:creationId xmlns:p14="http://schemas.microsoft.com/office/powerpoint/2010/main" val="1899588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2350" y="154697"/>
            <a:ext cx="8928208" cy="861774"/>
          </a:xfrm>
        </p:spPr>
        <p:txBody>
          <a:bodyPr/>
          <a:lstStyle/>
          <a:p>
            <a:r>
              <a:rPr lang="nl-NL" sz="2800" dirty="0">
                <a:solidFill>
                  <a:srgbClr val="00B0F0"/>
                </a:solidFill>
              </a:rPr>
              <a:t>9 succesfactoren voor gebiedstransformatie (a)</a:t>
            </a:r>
            <a:br>
              <a:rPr lang="nl-NL" sz="2800" dirty="0">
                <a:solidFill>
                  <a:srgbClr val="00B0F0"/>
                </a:solidFill>
              </a:rPr>
            </a:br>
            <a:endParaRPr lang="nl-NL" sz="2800" dirty="0">
              <a:solidFill>
                <a:srgbClr val="00B0F0"/>
              </a:solidFill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232350" y="1033262"/>
            <a:ext cx="9203415" cy="4826000"/>
          </a:xfrm>
        </p:spPr>
        <p:txBody>
          <a:bodyPr/>
          <a:lstStyle/>
          <a:p>
            <a:pPr lvl="0"/>
            <a:r>
              <a:rPr lang="nl-NL" sz="2800" dirty="0"/>
              <a:t>locatie, programma en </a:t>
            </a:r>
            <a:r>
              <a:rPr lang="nl-NL" sz="2800" dirty="0" smtClean="0"/>
              <a:t>inspiratie</a:t>
            </a:r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sluitende </a:t>
            </a:r>
            <a:r>
              <a:rPr lang="nl-NL" sz="2800" dirty="0" err="1" smtClean="0"/>
              <a:t>businesscase</a:t>
            </a:r>
            <a:endParaRPr lang="nl-NL" sz="2800" dirty="0" smtClean="0"/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investeren en </a:t>
            </a:r>
            <a:r>
              <a:rPr lang="nl-NL" sz="2800" dirty="0" smtClean="0"/>
              <a:t>financieren</a:t>
            </a:r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tijdelijk gebruik en </a:t>
            </a:r>
            <a:r>
              <a:rPr lang="nl-NL" sz="2800" dirty="0" err="1" smtClean="0"/>
              <a:t>placemaking</a:t>
            </a:r>
            <a:endParaRPr lang="nl-NL" sz="2800" dirty="0" smtClean="0"/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kracht van het concept en ontwerp </a:t>
            </a:r>
          </a:p>
          <a:p>
            <a:pPr marL="0" indent="0">
              <a:buNone/>
            </a:pPr>
            <a:endParaRPr lang="nl-NL" sz="32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7</a:t>
            </a:fld>
            <a:endParaRPr lang="nl-NL" dirty="0"/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466" y="6093011"/>
            <a:ext cx="514372" cy="467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165239" y="6437399"/>
            <a:ext cx="248177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err="1"/>
              <a:t>Praktijkleerstoel</a:t>
            </a:r>
            <a:r>
              <a:rPr lang="en-US" sz="1000" b="1" dirty="0"/>
              <a:t> </a:t>
            </a:r>
            <a:r>
              <a:rPr lang="en-US" sz="1000" b="1" dirty="0" err="1"/>
              <a:t>Gebiedsontwikkeling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1596049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2350" y="154697"/>
            <a:ext cx="8928208" cy="1415772"/>
          </a:xfrm>
        </p:spPr>
        <p:txBody>
          <a:bodyPr/>
          <a:lstStyle/>
          <a:p>
            <a:r>
              <a:rPr lang="nl-NL" sz="2800" dirty="0">
                <a:solidFill>
                  <a:srgbClr val="00B0F0"/>
                </a:solidFill>
              </a:rPr>
              <a:t>9 succesfactoren voor gebiedstransformatie (b)</a:t>
            </a:r>
            <a:r>
              <a:rPr lang="nl-NL" sz="3200" dirty="0"/>
              <a:t/>
            </a:r>
            <a:br>
              <a:rPr lang="nl-NL" sz="3200" dirty="0"/>
            </a:br>
            <a:r>
              <a:rPr lang="nl-NL" sz="3200" dirty="0">
                <a:solidFill>
                  <a:srgbClr val="00B0F0"/>
                </a:solidFill>
              </a:rPr>
              <a:t/>
            </a:r>
            <a:br>
              <a:rPr lang="nl-NL" sz="3200" dirty="0">
                <a:solidFill>
                  <a:srgbClr val="00B0F0"/>
                </a:solidFill>
              </a:rPr>
            </a:br>
            <a:endParaRPr lang="nl-NL" sz="3200" dirty="0">
              <a:solidFill>
                <a:srgbClr val="00B0F0"/>
              </a:solidFill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232350" y="1033262"/>
            <a:ext cx="9203415" cy="4826000"/>
          </a:xfrm>
        </p:spPr>
        <p:txBody>
          <a:bodyPr/>
          <a:lstStyle/>
          <a:p>
            <a:pPr marL="0" indent="0">
              <a:buNone/>
            </a:pPr>
            <a:endParaRPr lang="nl-NL" sz="3200" dirty="0" smtClean="0"/>
          </a:p>
          <a:p>
            <a:pPr lvl="0"/>
            <a:r>
              <a:rPr lang="nl-NL" sz="2800" dirty="0"/>
              <a:t>samenleven van bestaand en </a:t>
            </a:r>
            <a:r>
              <a:rPr lang="nl-NL" sz="2800" dirty="0" smtClean="0"/>
              <a:t>nieuw</a:t>
            </a:r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rol van de </a:t>
            </a:r>
            <a:r>
              <a:rPr lang="nl-NL" sz="2800" dirty="0" smtClean="0"/>
              <a:t>gemeente</a:t>
            </a:r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tafelschikking en participatie van </a:t>
            </a:r>
            <a:r>
              <a:rPr lang="nl-NL" sz="2800" dirty="0" smtClean="0"/>
              <a:t>belanghebbenden</a:t>
            </a:r>
          </a:p>
          <a:p>
            <a:pPr marL="0" lvl="0" indent="0">
              <a:buNone/>
            </a:pPr>
            <a:endParaRPr lang="nl-NL" sz="2800" dirty="0"/>
          </a:p>
          <a:p>
            <a:pPr lvl="0"/>
            <a:r>
              <a:rPr lang="nl-NL" sz="2800" dirty="0"/>
              <a:t>sleutelfiguren met de groene baret op</a:t>
            </a:r>
          </a:p>
          <a:p>
            <a:pPr marL="0" indent="0">
              <a:buNone/>
            </a:pPr>
            <a:endParaRPr lang="nl-NL" sz="28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1EC87-F007-413E-9577-D1D88117C3DE}" type="slidenum">
              <a:rPr lang="nl-NL" smtClean="0"/>
              <a:pPr/>
              <a:t>8</a:t>
            </a:fld>
            <a:endParaRPr lang="nl-NL" dirty="0"/>
          </a:p>
        </p:txBody>
      </p:sp>
      <p:pic>
        <p:nvPicPr>
          <p:cNvPr id="5" name="Picture 10" descr="tu-skg-fc_k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9743" y="6093011"/>
            <a:ext cx="514372" cy="467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hthoek 5"/>
          <p:cNvSpPr/>
          <p:nvPr/>
        </p:nvSpPr>
        <p:spPr>
          <a:xfrm>
            <a:off x="72095" y="6532559"/>
            <a:ext cx="248177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 err="1"/>
              <a:t>Praktijkleerstoel</a:t>
            </a:r>
            <a:r>
              <a:rPr lang="en-US" sz="1000" b="1" dirty="0"/>
              <a:t> </a:t>
            </a:r>
            <a:r>
              <a:rPr lang="en-US" sz="1000" b="1" dirty="0" err="1"/>
              <a:t>Gebiedsontwikkeling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val="312794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N1kpb.e02M15p8FVlm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mINUbieU2xz0olZOqp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_gSzkvh0KAW93XHAD0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0JAJHAo0uCijNgTmh25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DrWdEzEuuJduJcWER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qYsilMUECMXfNkWNk1B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oYAQyGkKD6IGzoz1m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i6d7.VyEeEr8BZ303Y6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ymYg4d7kih0M2l4c.K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XemyMjl0azKBzR0Vo.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RL74aZoUyg0YGkT6hB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7Ttv8lFUOne7sPUvSD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uv.B.CkmYsMKiKWt_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qbQJTsukCMNNYASsdz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bzumheBUm2Wb8yj4SP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YoJ9egykavcPLhVPQ4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qjo6eku0iB_m2vqaXq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Yx2W2bgUCAMyzMSF8y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urVq1B_0SjxLmym4N_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kKoRBtikWrg_cCQIcy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8UfzA9L0mSTgb8KnEw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KN8nIWvEG2nICjHba0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hkfvIbAkS1GyWt.Onh1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l0FpCNyUa7S2xUoj8i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JUgLALHkq7zlTgX7cF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30E3Ioz0eXOG8gV.4T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Xbnd.Zl0GMVe6iAt7n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UszCqY.UG_F9bEC6Fb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KsA9FxeU2ZuF8FHiVrx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c0tI7aqEG_n4vxsXTf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I19vy220yaAPVsxlV.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LoMdBGBUGdqgqvQJ5Lc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5UKbCjUU.KlRd9Rw03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aU.6Fg8ka.MP2gYiR44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RGCl2aokGiJJ9m0GPy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SSYmhv_0y_tpeRpmTB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mOggeDBkGXiPersAJU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i9dDL.1EWLvDvtGNgw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i6gYevS0q81rSxjng.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jaDmEUYku5m3lWwDg7U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Vdy2vv0uuHDqFhrJL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EVtuWsPEGKZb79MWKY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8znfv6HkW.hirCo9wF1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nhst.6DkmFRYyCk4pJ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nhst.6DkmFRYyCk4pJ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nhst.6DkmFRYyCk4pJ_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pj9bM5kkurcfr30Uev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YBnk4DLEyJMzosB3mdp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i9dDL.1EWLvDvtGNgw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4ktft_OkKGMSfmXAHLD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cfUfuy70SBCOqkwyJR6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5tUd1piU6_EMquTvqH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JRe4x9qkCCLYZT_OMb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cPRwYTpkeEXpUg4X3n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1f8NwTd0mUj1a0UPC2Rg"/>
</p:tagLst>
</file>

<file path=ppt/theme/theme1.xml><?xml version="1.0" encoding="utf-8"?>
<a:theme xmlns:a="http://schemas.openxmlformats.org/drawingml/2006/main" name="blank">
  <a:themeElements>
    <a:clrScheme name="Bouwfond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4BAFDC"/>
      </a:accent1>
      <a:accent2>
        <a:srgbClr val="CAD122"/>
      </a:accent2>
      <a:accent3>
        <a:srgbClr val="C10033"/>
      </a:accent3>
      <a:accent4>
        <a:srgbClr val="3C88AB"/>
      </a:accent4>
      <a:accent5>
        <a:srgbClr val="7F1226"/>
      </a:accent5>
      <a:accent6>
        <a:srgbClr val="B97FAD"/>
      </a:accent6>
      <a:hlink>
        <a:srgbClr val="C10033"/>
      </a:hlink>
      <a:folHlink>
        <a:srgbClr val="3C88A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lIns="36000" tIns="36000" rIns="36000" bIns="36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Words>761</Words>
  <Application>Microsoft Office PowerPoint</Application>
  <PresentationFormat>On-screen Show (4:3)</PresentationFormat>
  <Paragraphs>375</Paragraphs>
  <Slides>32</Slides>
  <Notes>3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4" baseType="lpstr">
      <vt:lpstr>blank</vt:lpstr>
      <vt:lpstr>Visio</vt:lpstr>
      <vt:lpstr>Stibbe-congres  19 mei 2016  Gebiedsontwikkeling</vt:lpstr>
      <vt:lpstr>       Analysekader: van buiten naar binnen </vt:lpstr>
      <vt:lpstr>PowerPoint Presentation</vt:lpstr>
      <vt:lpstr>Leerstuk gebiedsontwikkeling </vt:lpstr>
      <vt:lpstr>proces gebiedsontwikkeling</vt:lpstr>
      <vt:lpstr>proces gebiedsontwikkeling</vt:lpstr>
      <vt:lpstr>proces gebiedsontwikkeling</vt:lpstr>
      <vt:lpstr>9 succesfactoren voor gebiedstransformatie (a) </vt:lpstr>
      <vt:lpstr>9 succesfactoren voor gebiedstransformatie (b)  </vt:lpstr>
      <vt:lpstr>PowerPoint Presentation</vt:lpstr>
      <vt:lpstr>sturingsambitie</vt:lpstr>
      <vt:lpstr>PowerPoint Presentation</vt:lpstr>
      <vt:lpstr>PowerPoint Presentation</vt:lpstr>
      <vt:lpstr>sturing gebiedsontwikkeling:</vt:lpstr>
      <vt:lpstr>sturing gebiedsontwikkeling:</vt:lpstr>
      <vt:lpstr>sturing gebiedsontwikkeling</vt:lpstr>
      <vt:lpstr>PowerPoint Presentation</vt:lpstr>
      <vt:lpstr>PowerPoint Presentation</vt:lpstr>
      <vt:lpstr>PowerPoint Presentation</vt:lpstr>
      <vt:lpstr>Leiderschap in de netwerksturing</vt:lpstr>
      <vt:lpstr>sturing gebiedsontwikkeling</vt:lpstr>
      <vt:lpstr>PowerPoint Presentation</vt:lpstr>
      <vt:lpstr>De vraag: “ik wil naar de top”</vt:lpstr>
      <vt:lpstr>PowerPoint Presentation</vt:lpstr>
      <vt:lpstr>PowerPoint Presentation</vt:lpstr>
      <vt:lpstr>Oplossing 2: “accepteer de oplossing van de  ervaren bergbeklimmer”</vt:lpstr>
      <vt:lpstr>Participatiemomente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